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78" r:id="rId6"/>
    <p:sldMasterId id="2147483709" r:id="rId7"/>
    <p:sldMasterId id="2147483657" r:id="rId8"/>
    <p:sldMasterId id="2147483721" r:id="rId9"/>
    <p:sldMasterId id="2147483726" r:id="rId10"/>
    <p:sldMasterId id="2147483750" r:id="rId11"/>
    <p:sldMasterId id="2147483763" r:id="rId12"/>
    <p:sldMasterId id="2147484222" r:id="rId13"/>
    <p:sldMasterId id="2147484346" r:id="rId14"/>
  </p:sldMasterIdLst>
  <p:notesMasterIdLst>
    <p:notesMasterId r:id="rId23"/>
  </p:notesMasterIdLst>
  <p:handoutMasterIdLst>
    <p:handoutMasterId r:id="rId24"/>
  </p:handoutMasterIdLst>
  <p:sldIdLst>
    <p:sldId id="2147374649" r:id="rId15"/>
    <p:sldId id="2147468878" r:id="rId16"/>
    <p:sldId id="2147468877" r:id="rId17"/>
    <p:sldId id="2147468879" r:id="rId18"/>
    <p:sldId id="2147468882" r:id="rId19"/>
    <p:sldId id="2147468883" r:id="rId20"/>
    <p:sldId id="2147468881" r:id="rId21"/>
    <p:sldId id="1427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uth Badoo [ MTN Ghana ]" initials="RB[MG]" lastIdx="1" clrIdx="0">
    <p:extLst>
      <p:ext uri="{19B8F6BF-5375-455C-9EA6-DF929625EA0E}">
        <p15:presenceInfo xmlns:p15="http://schemas.microsoft.com/office/powerpoint/2012/main" userId="S::Ruth.Badoo@mtn.com::f2b2592f-79ed-4289-9752-97796c520cc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B0A"/>
    <a:srgbClr val="FEC20E"/>
    <a:srgbClr val="4393C9"/>
    <a:srgbClr val="C76814"/>
    <a:srgbClr val="00678F"/>
    <a:srgbClr val="663300"/>
    <a:srgbClr val="9F3917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F467DD-7EE1-4F25-8814-F43B9862E3BB}" v="9" dt="2022-09-14T07:38:17.0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15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" Target="slides/slide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slide" Target="slides/slide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1.xml"/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3EB1026-9102-4657-A84C-270F016C586A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6858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algn="ctr"/>
            <a:r>
              <a:rPr lang="en-US">
                <a:solidFill>
                  <a:srgbClr val="0000FF"/>
                </a:solidFill>
                <a:latin typeface="Tahoma" panose="020B0604030504040204" pitchFamily="34" charset="0"/>
              </a:rPr>
              <a:t>Interna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980ACD-9F9F-4942-A320-661DC870A45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2A383D-AF14-40E0-BB5D-74F91A06C70C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B5BA8E-60A1-4194-9365-BD1F2CD2947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2E8878-B181-4B91-8E48-57E18E328FE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852DCA-62AB-4784-BE57-2A9E4FB113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860713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0.xml"/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6858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ctr">
              <a:defRPr lang="en-US" sz="1200" b="0" i="0" u="none">
                <a:solidFill>
                  <a:srgbClr val="0000FF"/>
                </a:solidFill>
                <a:latin typeface="Tahoma" panose="020B0604030504040204" pitchFamily="34" charset="0"/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4B4139-E50D-4271-B60A-6A9273343113}" type="datetimeFigureOut">
              <a:rPr lang="en-GB" smtClean="0"/>
              <a:t>14/09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D71B9-E20D-4C54-95FC-AEF712511D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530235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D71B9-E20D-4C54-95FC-AEF712511D7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14343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D71B9-E20D-4C54-95FC-AEF712511D7F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22140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D71B9-E20D-4C54-95FC-AEF712511D7F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38975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D71B9-E20D-4C54-95FC-AEF712511D7F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72874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D71B9-E20D-4C54-95FC-AEF712511D7F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95617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D71B9-E20D-4C54-95FC-AEF712511D7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88001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D71B9-E20D-4C54-95FC-AEF712511D7F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312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D71B9-E20D-4C54-95FC-AEF712511D7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23021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9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2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5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25.emf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.xml"/><Relationship Id="rId4" Type="http://schemas.openxmlformats.org/officeDocument/2006/relationships/image" Target="../media/image25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.xml"/><Relationship Id="rId4" Type="http://schemas.openxmlformats.org/officeDocument/2006/relationships/image" Target="../media/image37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.xml"/><Relationship Id="rId4" Type="http://schemas.openxmlformats.org/officeDocument/2006/relationships/image" Target="../media/image39.png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oval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63E563C-5802-431D-B9EE-EA49C5812A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5" y="0"/>
            <a:ext cx="12190816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5C43412-D082-47C6-882D-370EA5EF5E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3537" cy="6858000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602681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968" y="3879130"/>
            <a:ext cx="2972787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15940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y'ello oval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9E0FEB49-F878-4F94-8F28-15BEAD8080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4" y="0"/>
            <a:ext cx="12183537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774509B-4785-48AF-A24D-0E1559CB67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66"/>
            <a:ext cx="12189631" cy="6856667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</p:spTree>
    <p:extLst>
      <p:ext uri="{BB962C8B-B14F-4D97-AF65-F5344CB8AC3E}">
        <p14:creationId xmlns:p14="http://schemas.microsoft.com/office/powerpoint/2010/main" val="256689037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D0A296-F711-200D-3D8C-F75D071517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6F6150-301C-06B1-8B3A-3C4EF508C4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785E43-F623-6AC9-B156-B8D0E7546B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7C255-4856-45E1-9C78-0929E48FE816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8C04F7-50E0-B1D9-3A13-E0141DC29A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5B1255-1956-E464-9B8A-C676B7A6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0B41-423C-4B79-A86E-A58B6B4AB6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26511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1">
            <a:extLst>
              <a:ext uri="{FF2B5EF4-FFF2-40B4-BE49-F238E27FC236}">
                <a16:creationId xmlns:a16="http://schemas.microsoft.com/office/drawing/2014/main" id="{AF56D0F2-4915-1040-97F6-0118CDEBA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182" y="3253912"/>
            <a:ext cx="11713637" cy="39822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ctr">
              <a:spcBef>
                <a:spcPts val="0"/>
              </a:spcBef>
              <a:defRPr sz="2800" b="1" i="0">
                <a:latin typeface="MTN Brighter Sans Bold" pitchFamily="2" charset="77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2DC3C8DC-1F38-C34E-B703-B598575F8B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0" y="3816390"/>
            <a:ext cx="11713637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MTN Brighter Sans" pitchFamily="2" charset="77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050AE4-FD82-6B45-8D3A-93732A42FF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00651" y="6467520"/>
            <a:ext cx="1790700" cy="177800"/>
          </a:xfrm>
          <a:prstGeom prst="rect">
            <a:avLst/>
          </a:prstGeom>
        </p:spPr>
      </p:pic>
      <p:pic>
        <p:nvPicPr>
          <p:cNvPr id="18" name="Picture 9">
            <a:extLst>
              <a:ext uri="{FF2B5EF4-FFF2-40B4-BE49-F238E27FC236}">
                <a16:creationId xmlns:a16="http://schemas.microsoft.com/office/drawing/2014/main" id="{3716CC9C-210A-DA40-A118-523C3505DC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219842" y="436693"/>
            <a:ext cx="1752317" cy="87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46692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1">
            <a:extLst>
              <a:ext uri="{FF2B5EF4-FFF2-40B4-BE49-F238E27FC236}">
                <a16:creationId xmlns:a16="http://schemas.microsoft.com/office/drawing/2014/main" id="{AF56D0F2-4915-1040-97F6-0118CDEBA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182" y="3253912"/>
            <a:ext cx="11713637" cy="39822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ctr">
              <a:spcBef>
                <a:spcPts val="0"/>
              </a:spcBef>
              <a:defRPr sz="2800" b="1" i="0">
                <a:solidFill>
                  <a:schemeClr val="tx2"/>
                </a:solidFill>
                <a:latin typeface="MTN Brighter Sans Bold" pitchFamily="2" charset="77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2DC3C8DC-1F38-C34E-B703-B598575F8B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0" y="3816390"/>
            <a:ext cx="11713637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2"/>
                </a:solidFill>
                <a:latin typeface="MTN Brighter Sans" pitchFamily="2" charset="77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050AE4-FD82-6B45-8D3A-93732A42FF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00651" y="6471477"/>
            <a:ext cx="1790700" cy="169887"/>
          </a:xfrm>
          <a:prstGeom prst="rect">
            <a:avLst/>
          </a:prstGeom>
        </p:spPr>
      </p:pic>
      <p:pic>
        <p:nvPicPr>
          <p:cNvPr id="18" name="Picture 9">
            <a:extLst>
              <a:ext uri="{FF2B5EF4-FFF2-40B4-BE49-F238E27FC236}">
                <a16:creationId xmlns:a16="http://schemas.microsoft.com/office/drawing/2014/main" id="{3716CC9C-210A-DA40-A118-523C3505DC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219842" y="436693"/>
            <a:ext cx="1752317" cy="87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057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y'ello oval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9E0FEB49-F878-4F94-8F28-15BEAD8080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4" y="0"/>
            <a:ext cx="12183537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774509B-4785-48AF-A24D-0E1559CB67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66"/>
            <a:ext cx="12189631" cy="6856667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</p:spTree>
    <p:extLst>
      <p:ext uri="{BB962C8B-B14F-4D97-AF65-F5344CB8AC3E}">
        <p14:creationId xmlns:p14="http://schemas.microsoft.com/office/powerpoint/2010/main" val="25668903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y'ello oval and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2850" y="2873831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section title</a:t>
            </a: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74509B-4785-48AF-A24D-0E1559CB67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66"/>
            <a:ext cx="12189630" cy="685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5992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versed full oval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6CCD23B-400C-41D8-893E-690E8FE2E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5" y="748144"/>
            <a:ext cx="12190816" cy="563418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A669F68-B064-49D0-A093-84974837DA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</p:spTree>
    <p:extLst>
      <p:ext uri="{BB962C8B-B14F-4D97-AF65-F5344CB8AC3E}">
        <p14:creationId xmlns:p14="http://schemas.microsoft.com/office/powerpoint/2010/main" val="36909988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versed full oval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6CCD23B-400C-41D8-893E-690E8FE2E1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27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A669F68-B064-49D0-A093-84974837DA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9" y="0"/>
            <a:ext cx="12189631" cy="6858000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</p:spTree>
    <p:extLst>
      <p:ext uri="{BB962C8B-B14F-4D97-AF65-F5344CB8AC3E}">
        <p14:creationId xmlns:p14="http://schemas.microsoft.com/office/powerpoint/2010/main" val="8493712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versed full oval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6CCD23B-400C-41D8-893E-690E8FE2E1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276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A669F68-B064-49D0-A093-84974837DA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9" y="0"/>
            <a:ext cx="12189631" cy="6858000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</p:spTree>
    <p:extLst>
      <p:ext uri="{BB962C8B-B14F-4D97-AF65-F5344CB8AC3E}">
        <p14:creationId xmlns:p14="http://schemas.microsoft.com/office/powerpoint/2010/main" val="3690998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inversed oval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6CCD23B-400C-41D8-893E-690E8FE2E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5" y="0"/>
            <a:ext cx="6695179" cy="56341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8672C0D-8E0B-4BC3-A247-903A156722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6797" y="2307118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section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72115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versed oval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6CCD23B-400C-41D8-893E-690E8FE2E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8593032" cy="554059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8672C0D-8E0B-4BC3-A247-903A156722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9" y="0"/>
            <a:ext cx="12189631" cy="6858000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6797" y="2307118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section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30618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id yellow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965A7D3-8182-4549-9856-6A7AC54471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8350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C8A00ABB-1583-4461-95D3-1AE91788B03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039"/>
            <a:ext cx="12192000" cy="4868091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DDB2BD-4EA3-4FB8-AB1E-76C86DE937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43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DDB2BD-4EA3-4FB8-AB1E-76C86DE937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64A223-4024-4FE9-A336-14D39A358BD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0" i="0" baseline="0">
              <a:latin typeface="MTN Brighter Sans Bold" panose="00000800000000000000" pitchFamily="2" charset="0"/>
              <a:ea typeface="+mj-ea"/>
              <a:cs typeface="+mj-cs"/>
              <a:sym typeface="MTN Brighter Sans Bold" panose="00000800000000000000" pitchFamily="2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1973CA1-9052-4E4A-BA18-A9E2018FFF9A}"/>
              </a:ext>
            </a:extLst>
          </p:cNvPr>
          <p:cNvSpPr/>
          <p:nvPr userDrawn="1"/>
        </p:nvSpPr>
        <p:spPr>
          <a:xfrm>
            <a:off x="0" y="3604641"/>
            <a:ext cx="12192002" cy="3253359"/>
          </a:xfrm>
          <a:custGeom>
            <a:avLst/>
            <a:gdLst>
              <a:gd name="connsiteX0" fmla="*/ 0 w 12192002"/>
              <a:gd name="connsiteY0" fmla="*/ 0 h 3253359"/>
              <a:gd name="connsiteX1" fmla="*/ 6106755 w 12192002"/>
              <a:gd name="connsiteY1" fmla="*/ 1066782 h 3253359"/>
              <a:gd name="connsiteX2" fmla="*/ 12192002 w 12192002"/>
              <a:gd name="connsiteY2" fmla="*/ 8603 h 3253359"/>
              <a:gd name="connsiteX3" fmla="*/ 12191514 w 12192002"/>
              <a:gd name="connsiteY3" fmla="*/ 3253359 h 3253359"/>
              <a:gd name="connsiteX4" fmla="*/ 1 w 12192002"/>
              <a:gd name="connsiteY4" fmla="*/ 3253359 h 3253359"/>
              <a:gd name="connsiteX5" fmla="*/ 0 w 12192002"/>
              <a:gd name="connsiteY5" fmla="*/ 0 h 3253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2" h="3253359">
                <a:moveTo>
                  <a:pt x="0" y="0"/>
                </a:moveTo>
                <a:cubicBezTo>
                  <a:pt x="1544254" y="656702"/>
                  <a:pt x="3709363" y="1066782"/>
                  <a:pt x="6106755" y="1066782"/>
                </a:cubicBezTo>
                <a:cubicBezTo>
                  <a:pt x="8492676" y="1066782"/>
                  <a:pt x="10649182" y="661004"/>
                  <a:pt x="12192002" y="8603"/>
                </a:cubicBezTo>
                <a:lnTo>
                  <a:pt x="12191514" y="3253359"/>
                </a:lnTo>
                <a:lnTo>
                  <a:pt x="1" y="325335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ZA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6253D27-FC6C-47E3-97F9-2467914CA7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51712" y="4990101"/>
            <a:ext cx="10413021" cy="528942"/>
          </a:xfrm>
          <a:prstGeom prst="rect">
            <a:avLst/>
          </a:prstGeom>
        </p:spPr>
        <p:txBody>
          <a:bodyPr lIns="0" anchor="b" anchorCtr="0"/>
          <a:lstStyle>
            <a:lvl1pPr algn="l">
              <a:lnSpc>
                <a:spcPct val="100000"/>
              </a:lnSpc>
              <a:spcBef>
                <a:spcPts val="0"/>
              </a:spcBef>
              <a:defRPr sz="2800" b="0">
                <a:latin typeface="+mj-lt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id="{DD0E26A3-0A1B-478D-AF7B-FE891C81C2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51712" y="5519043"/>
            <a:ext cx="10413020" cy="528942"/>
          </a:xfrm>
          <a:prstGeom prst="rect">
            <a:avLst/>
          </a:prstGeom>
          <a:noFill/>
        </p:spPr>
        <p:txBody>
          <a:bodyPr l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4E1CC51-F5FC-48CE-A6DB-BFE4C84EB025}"/>
              </a:ext>
            </a:extLst>
          </p:cNvPr>
          <p:cNvGrpSpPr/>
          <p:nvPr userDrawn="1"/>
        </p:nvGrpSpPr>
        <p:grpSpPr>
          <a:xfrm>
            <a:off x="407987" y="5072989"/>
            <a:ext cx="905243" cy="906172"/>
            <a:chOff x="10648109" y="5310073"/>
            <a:chExt cx="1150191" cy="1151372"/>
          </a:xfrm>
        </p:grpSpPr>
        <p:sp>
          <p:nvSpPr>
            <p:cNvPr id="28" name="Rectangle 20">
              <a:extLst>
                <a:ext uri="{FF2B5EF4-FFF2-40B4-BE49-F238E27FC236}">
                  <a16:creationId xmlns:a16="http://schemas.microsoft.com/office/drawing/2014/main" id="{469E0E09-7A25-4A57-8C7C-6132AECA5A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21">
              <a:extLst>
                <a:ext uri="{FF2B5EF4-FFF2-40B4-BE49-F238E27FC236}">
                  <a16:creationId xmlns:a16="http://schemas.microsoft.com/office/drawing/2014/main" id="{1663E7E5-BF4F-49BD-B368-8C505CECF5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Oval 22">
              <a:extLst>
                <a:ext uri="{FF2B5EF4-FFF2-40B4-BE49-F238E27FC236}">
                  <a16:creationId xmlns:a16="http://schemas.microsoft.com/office/drawing/2014/main" id="{6E88028B-832C-4130-878F-BA5610D3B4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548CDD0C-2BE1-46B4-8981-89CCBB781E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91EC6A32-08D6-4740-9494-78DA920425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1E477FAB-7DC0-46AA-B6D9-95CA4856ED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B0D453E7-ACC3-40D6-A582-8EE36F6B40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014AD332-597E-4544-B30D-0BE3E6BD81D9}"/>
              </a:ext>
            </a:extLst>
          </p:cNvPr>
          <p:cNvSpPr txBox="1"/>
          <p:nvPr userDrawn="1"/>
        </p:nvSpPr>
        <p:spPr>
          <a:xfrm>
            <a:off x="475834" y="6100512"/>
            <a:ext cx="5653548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en-US" sz="1200" i="1"/>
              <a:t>Leading digital solutions for Africa’s progress</a:t>
            </a:r>
            <a:endParaRPr lang="en-ZA" sz="1200" i="1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D42788D-9BB0-41C7-AAAB-E0EBC8197F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16613" y="6602403"/>
            <a:ext cx="342145" cy="174625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ctr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pPr algn="ctr"/>
            <a:fld id="{6C9EDA83-5074-4C24-8467-F331177C9D01}" type="slidenum">
              <a:rPr lang="en-ZA" smtClean="0"/>
              <a:pPr algn="ctr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03872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oval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63E563C-5802-431D-B9EE-EA49C5812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3537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C43412-D082-47C6-882D-370EA5EF5E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3537" cy="6858000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602681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968" y="3879130"/>
            <a:ext cx="2972787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6176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32B0BD6-0205-4143-838A-4BF7D5E16C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5" y="851215"/>
            <a:ext cx="11404600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1757287"/>
      </p:ext>
    </p:extLst>
  </p:cSld>
  <p:clrMapOvr>
    <a:masterClrMapping/>
  </p:clrMapOvr>
  <p:transition spd="slow"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4206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3ECBAB2-AED5-4409-82AF-F2CBF778F1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869320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9E175D5-489A-4635-BCAF-E4CFACFB85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0" y="1520825"/>
            <a:ext cx="11403414" cy="34559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3593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7987" y="1341438"/>
            <a:ext cx="11412537" cy="49672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423002-22A1-4105-B521-63BA27002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146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with ov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31734F-3C26-F944-8C59-AED589DAC806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94F158-8057-C344-9E36-D8CA648B8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185" y="4223123"/>
            <a:ext cx="11713632" cy="398229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ctr">
              <a:spcBef>
                <a:spcPts val="0"/>
              </a:spcBef>
              <a:defRPr sz="2800" b="1" i="0">
                <a:latin typeface="MTN Brighter Sans Bold" pitchFamily="2" charset="77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F6E9080D-B79C-2C4D-BB42-A17F4DDA48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5" y="4739105"/>
            <a:ext cx="11713632" cy="276999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MTN Brighter Sans" pitchFamily="2" charset="77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993152-7356-FC43-9F53-4DA05BF054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1896" y="2308864"/>
            <a:ext cx="5568203" cy="160108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625FBAD-B46F-6541-95E0-A9E6494842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200651" y="6467520"/>
            <a:ext cx="1790700" cy="177800"/>
          </a:xfrm>
          <a:prstGeom prst="rect">
            <a:avLst/>
          </a:prstGeom>
        </p:spPr>
      </p:pic>
      <p:pic>
        <p:nvPicPr>
          <p:cNvPr id="15" name="Picture 9">
            <a:extLst>
              <a:ext uri="{FF2B5EF4-FFF2-40B4-BE49-F238E27FC236}">
                <a16:creationId xmlns:a16="http://schemas.microsoft.com/office/drawing/2014/main" id="{567F288F-9D69-BF40-AC4D-6296CC380E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219842" y="436693"/>
            <a:ext cx="1752317" cy="87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610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with image no 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ection name here">
            <a:extLst>
              <a:ext uri="{FF2B5EF4-FFF2-40B4-BE49-F238E27FC236}">
                <a16:creationId xmlns:a16="http://schemas.microsoft.com/office/drawing/2014/main" id="{F841A614-AEC1-CF40-8894-3FEECD995A46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25" name="Section name here">
            <a:extLst>
              <a:ext uri="{FF2B5EF4-FFF2-40B4-BE49-F238E27FC236}">
                <a16:creationId xmlns:a16="http://schemas.microsoft.com/office/drawing/2014/main" id="{E6511A7E-C0B9-6042-AEB6-1D8D3F3E7787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CDF80BE-6831-264D-A275-19546B18D8BA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18743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Slid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499654" y="1592264"/>
            <a:ext cx="64935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sz="3600" b="1">
                <a:solidFill>
                  <a:schemeClr val="tx1"/>
                </a:solidFill>
              </a:rPr>
              <a:t>Agenda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1967"/>
            <a:ext cx="6213988" cy="685996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007040A-8CB9-4DC4-B1DD-7603B4DC0B3E}"/>
              </a:ext>
            </a:extLst>
          </p:cNvPr>
          <p:cNvSpPr/>
          <p:nvPr userDrawn="1"/>
        </p:nvSpPr>
        <p:spPr>
          <a:xfrm>
            <a:off x="-1" y="178416"/>
            <a:ext cx="12192001" cy="1335226"/>
          </a:xfrm>
          <a:prstGeom prst="rect">
            <a:avLst/>
          </a:prstGeom>
          <a:gradFill flip="none" rotWithShape="1">
            <a:gsLst>
              <a:gs pos="0">
                <a:srgbClr val="FFCD05">
                  <a:alpha val="36000"/>
                </a:srgbClr>
              </a:gs>
              <a:gs pos="74000">
                <a:srgbClr val="FFCD05"/>
              </a:gs>
              <a:gs pos="83000">
                <a:srgbClr val="FFCD05"/>
              </a:gs>
              <a:gs pos="100000">
                <a:srgbClr val="FFCD05"/>
              </a:gs>
            </a:gsLst>
            <a:lin ang="0" scaled="1"/>
            <a:tileRect/>
          </a:gra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3600" y="256174"/>
            <a:ext cx="1130714" cy="1179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5789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63677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5230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6C3F2E8-937B-4189-AC25-4FEC2736AE29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292850" y="1520826"/>
            <a:ext cx="5505450" cy="345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 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E59576E-A26E-4E02-B869-1D54568597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514" y="860611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5D41BC-5F48-4093-9F21-FE8620F071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0" y="1520826"/>
            <a:ext cx="5505450" cy="41036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61729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05945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4206"/>
            <a:ext cx="11404600" cy="49381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6495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oval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63E563C-5802-431D-B9EE-EA49C5812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4" y="0"/>
            <a:ext cx="12183537" cy="6858000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C43412-D082-47C6-882D-370EA5EF5E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3537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602681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968" y="3879130"/>
            <a:ext cx="2972787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21490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4206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869320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51210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4206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3ECBAB2-AED5-4409-82AF-F2CBF778F1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869320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9E175D5-489A-4635-BCAF-E4CFACFB85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0" y="1520825"/>
            <a:ext cx="11403414" cy="34559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93095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5230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6C3F2E8-937B-4189-AC25-4FEC2736AE29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292850" y="1520826"/>
            <a:ext cx="5505450" cy="345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 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E59576E-A26E-4E02-B869-1D54568597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514" y="860611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5D41BC-5F48-4093-9F21-FE8620F071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0" y="1520826"/>
            <a:ext cx="5505450" cy="41036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28897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9013D2-8FFD-4C5E-94F5-AD56140FA9A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92849" y="393700"/>
            <a:ext cx="5505451" cy="4583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 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5A6BBAA-D577-4340-BF96-F7883660C9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5230"/>
            <a:ext cx="5506636" cy="493811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/>
            </a:lvl1pPr>
          </a:lstStyle>
          <a:p>
            <a:pPr marL="0" lvl="0" indent="0">
              <a:buFont typeface="Arial" panose="020B0604020202020204" pitchFamily="34" charset="0"/>
            </a:pPr>
            <a:r>
              <a:rPr lang="en-US"/>
              <a:t>Add title</a:t>
            </a:r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CD5A655-FABB-4902-88CF-D4CA949B13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514" y="860611"/>
            <a:ext cx="550663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804AD92-5209-4BF2-97B3-42B4CCC667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0" y="1520825"/>
            <a:ext cx="5505450" cy="41036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37815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title &amp;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9013D2-8FFD-4C5E-94F5-AD56140FA9A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92849" y="393700"/>
            <a:ext cx="5505451" cy="4583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 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FE95AF8-DF7C-4B22-A376-66E7835BB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5230"/>
            <a:ext cx="5506636" cy="96940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wo line title</a:t>
            </a:r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43F90D26-BDA7-4F3A-9D8F-661D30D9BC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514" y="1314638"/>
            <a:ext cx="550663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8A0BD1-12B9-4B0C-97BF-4BF0D625F7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0" y="1914525"/>
            <a:ext cx="5505450" cy="37099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70143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7046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 Slide with Char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" y="214291"/>
            <a:ext cx="10287028" cy="571482"/>
          </a:xfrm>
          <a:prstGeom prst="rect">
            <a:avLst/>
          </a:prstGeom>
        </p:spPr>
        <p:txBody>
          <a:bodyPr lIns="449921" anchor="ctr">
            <a:normAutofit/>
          </a:bodyPr>
          <a:lstStyle>
            <a:lvl1pPr>
              <a:buNone/>
              <a:defRPr sz="2800" baseline="0">
                <a:solidFill>
                  <a:srgbClr val="27272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" y="1071546"/>
            <a:ext cx="6191251" cy="5357850"/>
          </a:xfrm>
          <a:prstGeom prst="rect">
            <a:avLst/>
          </a:prstGeom>
        </p:spPr>
        <p:txBody>
          <a:bodyPr lIns="629889" tIns="287950"/>
          <a:lstStyle>
            <a:lvl1pPr marL="514259" indent="-514259">
              <a:buClr>
                <a:srgbClr val="FFB300"/>
              </a:buClr>
              <a:buSzPct val="120000"/>
              <a:buFont typeface="Arial" pitchFamily="34" charset="0"/>
              <a:buChar char="•"/>
              <a:defRPr sz="2000" baseline="0">
                <a:solidFill>
                  <a:srgbClr val="272727"/>
                </a:solidFill>
              </a:defRPr>
            </a:lvl1pPr>
            <a:lvl2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2pPr>
            <a:lvl3pPr>
              <a:buClr>
                <a:srgbClr val="808080"/>
              </a:buClr>
              <a:buSzPct val="120000"/>
              <a:defRPr sz="1800">
                <a:solidFill>
                  <a:srgbClr val="272727"/>
                </a:solidFill>
              </a:defRPr>
            </a:lvl3pPr>
            <a:lvl4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4pPr>
            <a:lvl5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2"/>
          </p:nvPr>
        </p:nvSpPr>
        <p:spPr>
          <a:xfrm>
            <a:off x="6191252" y="1071546"/>
            <a:ext cx="6000749" cy="5357850"/>
          </a:xfrm>
          <a:prstGeom prst="rect">
            <a:avLst/>
          </a:prstGeom>
        </p:spPr>
        <p:txBody>
          <a:bodyPr lIns="449921" rtlCol="0">
            <a:noAutofit/>
          </a:bodyPr>
          <a:lstStyle>
            <a:lvl1pPr>
              <a:buNone/>
              <a:defRPr lang="en-ZA" sz="2000" kern="1200" baseline="0" dirty="0">
                <a:solidFill>
                  <a:srgbClr val="2727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ZA" noProof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11620501" y="6470651"/>
            <a:ext cx="571500" cy="365125"/>
          </a:xfrm>
          <a:prstGeom prst="rect">
            <a:avLst/>
          </a:prstGeom>
        </p:spPr>
        <p:txBody>
          <a:bodyPr anchor="ctr"/>
          <a:lstStyle>
            <a:lvl1pPr algn="r" defTabSz="914239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601CB7B-F7DE-413E-8BE3-A750FB003A47}" type="slidenum">
              <a:rPr lang="en-ZA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ZA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291821"/>
      </p:ext>
    </p:extLst>
  </p:cSld>
  <p:clrMapOvr>
    <a:masterClrMapping/>
  </p:clrMapOvr>
  <p:transition spd="slow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oval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63E563C-5802-431D-B9EE-EA49C5812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3537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C43412-D082-47C6-882D-370EA5EF5E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3537" cy="6858000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6215" y="2602681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6968" y="3879130"/>
            <a:ext cx="2972787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9933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98CFF1-9E10-4019-9686-5CFDC0477B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19265" y="6602403"/>
            <a:ext cx="342145" cy="174625"/>
          </a:xfrm>
          <a:prstGeom prst="rect">
            <a:avLst/>
          </a:prstGeom>
        </p:spPr>
        <p:txBody>
          <a:bodyPr/>
          <a:lstStyle/>
          <a:p>
            <a:fld id="{6C9EDA83-5074-4C24-8467-F331177C9D01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01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Yell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0880F50-782A-44AC-A918-A3B5E74BAF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0" y="2593447"/>
            <a:ext cx="4689764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153" y="3869896"/>
            <a:ext cx="4689452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5951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nversed oval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63E563C-5802-431D-B9EE-EA49C5812A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742546" cy="553258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716B6C6-BBEE-4BFB-84EF-E69EC64A4A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1" y="0"/>
            <a:ext cx="12183537" cy="6858000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6408" y="2316354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27161" y="3592803"/>
            <a:ext cx="2972787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79990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87240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4206"/>
            <a:ext cx="11404600" cy="49381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28742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4206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869320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24269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4206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3ECBAB2-AED5-4409-82AF-F2CBF778F1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869320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9E175D5-489A-4635-BCAF-E4CFACFB85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0" y="1520825"/>
            <a:ext cx="11403414" cy="34559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11642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5230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6C3F2E8-937B-4189-AC25-4FEC2736AE29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292850" y="1520826"/>
            <a:ext cx="5505450" cy="345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 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E59576E-A26E-4E02-B869-1D54568597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514" y="860611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15D41BC-5F48-4093-9F21-FE8620F071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0" y="1520826"/>
            <a:ext cx="5505450" cy="41036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63628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9013D2-8FFD-4C5E-94F5-AD56140FA9A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92849" y="393700"/>
            <a:ext cx="5505451" cy="4583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 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5A6BBAA-D577-4340-BF96-F7883660C9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5230"/>
            <a:ext cx="5506636" cy="493811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dirty="0"/>
            </a:lvl1pPr>
          </a:lstStyle>
          <a:p>
            <a:pPr marL="0" lvl="0" indent="0">
              <a:buFont typeface="Arial" panose="020B0604020202020204" pitchFamily="34" charset="0"/>
            </a:pPr>
            <a:r>
              <a:rPr lang="en-US"/>
              <a:t>Add title</a:t>
            </a:r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CD5A655-FABB-4902-88CF-D4CA949B13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514" y="860611"/>
            <a:ext cx="550663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804AD92-5209-4BF2-97B3-42B4CCC667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0" y="1520825"/>
            <a:ext cx="5505450" cy="41036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92112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title &amp;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9013D2-8FFD-4C5E-94F5-AD56140FA9A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92849" y="393700"/>
            <a:ext cx="5505451" cy="4583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 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FE95AF8-DF7C-4B22-A376-66E7835BB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5230"/>
            <a:ext cx="5506636" cy="96940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wo line title</a:t>
            </a:r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43F90D26-BDA7-4F3A-9D8F-661D30D9BC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514" y="1314638"/>
            <a:ext cx="550663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8A0BD1-12B9-4B0C-97BF-4BF0D625F7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0" y="1914525"/>
            <a:ext cx="5505450" cy="37099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81310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29741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28995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5230"/>
            <a:ext cx="11404600" cy="49381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880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inversed oval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63E563C-5802-431D-B9EE-EA49C5812A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805105" cy="550643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716B6C6-BBEE-4BFB-84EF-E69EC64A4A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3" y="0"/>
            <a:ext cx="12183537" cy="6858000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6408" y="2316354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27161" y="3592803"/>
            <a:ext cx="2972787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63820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5230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860611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04813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5230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047D16-DA1D-4FD5-9E2D-4C8D17E6517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3700" y="1520826"/>
            <a:ext cx="11403414" cy="34559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 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3ECBAB2-AED5-4409-82AF-F2CBF778F1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860611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09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5230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E59576E-A26E-4E02-B869-1D54568597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514" y="860611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1A7A47-9994-450E-B206-1668BFDBAC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3700" y="1520825"/>
            <a:ext cx="3541713" cy="4103688"/>
          </a:xfrm>
        </p:spPr>
        <p:txBody>
          <a:bodyPr/>
          <a:lstStyle>
            <a:lvl1pPr>
              <a:lnSpc>
                <a:spcPct val="110000"/>
              </a:lnSpc>
              <a:spcBef>
                <a:spcPts val="300"/>
              </a:spcBef>
              <a:defRPr/>
            </a:lvl1pPr>
            <a:lvl2pPr>
              <a:lnSpc>
                <a:spcPct val="110000"/>
              </a:lnSpc>
              <a:spcBef>
                <a:spcPts val="300"/>
              </a:spcBef>
              <a:defRPr/>
            </a:lvl2pPr>
            <a:lvl3pPr>
              <a:lnSpc>
                <a:spcPct val="110000"/>
              </a:lnSpc>
              <a:spcBef>
                <a:spcPts val="300"/>
              </a:spcBef>
              <a:defRPr/>
            </a:lvl3pPr>
            <a:lvl4pPr>
              <a:lnSpc>
                <a:spcPct val="110000"/>
              </a:lnSpc>
              <a:spcBef>
                <a:spcPts val="300"/>
              </a:spcBef>
              <a:defRPr/>
            </a:lvl4pPr>
            <a:lvl5pPr>
              <a:lnSpc>
                <a:spcPct val="110000"/>
              </a:lnSpc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E528410-B6F5-470B-A0B3-19AFE8914A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0700" y="1520825"/>
            <a:ext cx="3541713" cy="4103688"/>
          </a:xfrm>
        </p:spPr>
        <p:txBody>
          <a:bodyPr/>
          <a:lstStyle>
            <a:lvl1pPr>
              <a:lnSpc>
                <a:spcPct val="110000"/>
              </a:lnSpc>
              <a:spcBef>
                <a:spcPts val="300"/>
              </a:spcBef>
              <a:defRPr/>
            </a:lvl1pPr>
            <a:lvl2pPr>
              <a:lnSpc>
                <a:spcPct val="110000"/>
              </a:lnSpc>
              <a:spcBef>
                <a:spcPts val="300"/>
              </a:spcBef>
              <a:defRPr/>
            </a:lvl2pPr>
            <a:lvl3pPr>
              <a:lnSpc>
                <a:spcPct val="110000"/>
              </a:lnSpc>
              <a:spcBef>
                <a:spcPts val="300"/>
              </a:spcBef>
              <a:defRPr/>
            </a:lvl3pPr>
            <a:lvl4pPr>
              <a:lnSpc>
                <a:spcPct val="110000"/>
              </a:lnSpc>
              <a:spcBef>
                <a:spcPts val="300"/>
              </a:spcBef>
              <a:defRPr/>
            </a:lvl4pPr>
            <a:lvl5pPr>
              <a:lnSpc>
                <a:spcPct val="110000"/>
              </a:lnSpc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DE7A0E6-F23B-409D-9D2A-ECEC103AF9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7700" y="1520825"/>
            <a:ext cx="3541713" cy="3455988"/>
          </a:xfrm>
        </p:spPr>
        <p:txBody>
          <a:bodyPr/>
          <a:lstStyle>
            <a:lvl1pPr>
              <a:lnSpc>
                <a:spcPct val="110000"/>
              </a:lnSpc>
              <a:spcBef>
                <a:spcPts val="300"/>
              </a:spcBef>
              <a:defRPr/>
            </a:lvl1pPr>
            <a:lvl2pPr>
              <a:lnSpc>
                <a:spcPct val="110000"/>
              </a:lnSpc>
              <a:spcBef>
                <a:spcPts val="300"/>
              </a:spcBef>
              <a:defRPr/>
            </a:lvl2pPr>
            <a:lvl3pPr>
              <a:lnSpc>
                <a:spcPct val="110000"/>
              </a:lnSpc>
              <a:spcBef>
                <a:spcPts val="300"/>
              </a:spcBef>
              <a:defRPr/>
            </a:lvl3pPr>
            <a:lvl4pPr>
              <a:lnSpc>
                <a:spcPct val="110000"/>
              </a:lnSpc>
              <a:spcBef>
                <a:spcPts val="300"/>
              </a:spcBef>
              <a:defRPr/>
            </a:lvl4pPr>
            <a:lvl5pPr>
              <a:lnSpc>
                <a:spcPct val="110000"/>
              </a:lnSpc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45726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itle, subtitle &amp;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FFE95AF8-DF7C-4B22-A376-66E7835BB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5230"/>
            <a:ext cx="3542899" cy="96940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wo line title</a:t>
            </a:r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43F90D26-BDA7-4F3A-9D8F-661D30D9BC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514" y="1314638"/>
            <a:ext cx="3542899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90DAB9B-7E03-42AF-92F7-31BEB5BB5A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0699" y="405529"/>
            <a:ext cx="3540125" cy="52189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EEF026B-6A9B-4CA2-9AAF-0E2C68E2A8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66110" y="405529"/>
            <a:ext cx="3540125" cy="45712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61713CA-285D-4487-8A8F-1F27C57D0A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2514" y="1914525"/>
            <a:ext cx="3540125" cy="3709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84727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456838"/>
            <a:ext cx="9755533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047D16-DA1D-4FD5-9E2D-4C8D17E6517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3700" y="1489520"/>
            <a:ext cx="11404600" cy="4552505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 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3ECBAB2-AED5-4409-82AF-F2CBF778F1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008079"/>
            <a:ext cx="9755533" cy="26881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74143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456838"/>
            <a:ext cx="9755533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047D16-DA1D-4FD5-9E2D-4C8D17E6517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3700" y="1489520"/>
            <a:ext cx="11404600" cy="4552505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 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3ECBAB2-AED5-4409-82AF-F2CBF778F1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1008079"/>
            <a:ext cx="9755533" cy="26881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622449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1266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515" y="344208"/>
            <a:ext cx="11404600" cy="49381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03651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515" y="344208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92515" y="869320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822280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515" y="344208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92515" y="869320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520825"/>
            <a:ext cx="11403415" cy="34559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1442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inversed oval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63E563C-5802-431D-B9EE-EA49C5812A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8122476" cy="58006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716B6C6-BBEE-4BFB-84EF-E69EC64A4A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3" y="0"/>
            <a:ext cx="12183537" cy="6858000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6408" y="2316354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27161" y="3592803"/>
            <a:ext cx="2972787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46115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515" y="345232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292849" y="1520826"/>
            <a:ext cx="5505451" cy="3455988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392515" y="860611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0" y="1520826"/>
            <a:ext cx="5505451" cy="41036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616507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2849" y="393702"/>
            <a:ext cx="5505451" cy="4583113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92515" y="345232"/>
            <a:ext cx="5506636" cy="493811"/>
          </a:xfrm>
        </p:spPr>
        <p:txBody>
          <a:bodyPr/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392515" y="860611"/>
            <a:ext cx="550663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0" y="1520825"/>
            <a:ext cx="5505451" cy="41036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58131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title &amp;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2849" y="393702"/>
            <a:ext cx="5505451" cy="4583113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92515" y="345230"/>
            <a:ext cx="5506636" cy="96940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392515" y="1314638"/>
            <a:ext cx="5506636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0" y="1914525"/>
            <a:ext cx="5505451" cy="37099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72165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697120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3" name="Title Text"/>
          <p:cNvSpPr txBox="1">
            <a:spLocks noGrp="1"/>
          </p:cNvSpPr>
          <p:nvPr>
            <p:ph type="title"/>
          </p:nvPr>
        </p:nvSpPr>
        <p:spPr>
          <a:xfrm>
            <a:off x="770461" y="667719"/>
            <a:ext cx="9127111" cy="111610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Title Text</a:t>
            </a:r>
          </a:p>
        </p:txBody>
      </p:sp>
      <p:sp>
        <p:nvSpPr>
          <p:cNvPr id="544" name="Body Level One…"/>
          <p:cNvSpPr txBox="1">
            <a:spLocks noGrp="1"/>
          </p:cNvSpPr>
          <p:nvPr>
            <p:ph type="body" idx="1"/>
          </p:nvPr>
        </p:nvSpPr>
        <p:spPr>
          <a:xfrm>
            <a:off x="770461" y="1901322"/>
            <a:ext cx="9127111" cy="4189919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10"/>
          </p:nvPr>
        </p:nvSpPr>
        <p:spPr>
          <a:xfrm>
            <a:off x="5892800" y="6172200"/>
            <a:ext cx="2844800" cy="368300"/>
          </a:xfrm>
          <a:prstGeom prst="rect">
            <a:avLst/>
          </a:prstGeom>
        </p:spPr>
        <p:txBody>
          <a:bodyPr/>
          <a:lstStyle>
            <a:lvl1pPr defTabSz="685800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entury Gothic"/>
              </a:defRPr>
            </a:lvl1pPr>
          </a:lstStyle>
          <a:p>
            <a:pPr>
              <a:defRPr/>
            </a:pPr>
            <a:fld id="{EBE61A33-96BB-47AB-AB43-BBB3DED1F23E}" type="slidenum">
              <a:rPr lang="en-US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48296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53713228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oval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353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353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allout: Bent Line 14"/>
          <p:cNvSpPr/>
          <p:nvPr userDrawn="1"/>
        </p:nvSpPr>
        <p:spPr>
          <a:xfrm>
            <a:off x="13271500" y="1"/>
            <a:ext cx="1856317" cy="462756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b="1">
                <a:solidFill>
                  <a:srgbClr val="FFFFFF"/>
                </a:solidFill>
              </a:rPr>
              <a:t>UPDATE IMAGE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50">
              <a:solidFill>
                <a:srgbClr val="FFFFFF"/>
              </a:solidFill>
            </a:endParaRP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75">
                <a:solidFill>
                  <a:srgbClr val="FFFFFF"/>
                </a:solidFill>
              </a:rPr>
              <a:t>View &gt; Master &gt; Slide master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75">
              <a:solidFill>
                <a:srgbClr val="FFFFFF"/>
              </a:solidFill>
            </a:endParaRP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75">
                <a:solidFill>
                  <a:srgbClr val="FFFFFF"/>
                </a:solidFill>
              </a:rPr>
              <a:t>Right click on top layer and choose “send to back”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75">
              <a:solidFill>
                <a:srgbClr val="FFFFFF"/>
              </a:solidFill>
            </a:endParaRP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75">
                <a:solidFill>
                  <a:srgbClr val="FFFFFF"/>
                </a:solidFill>
              </a:rPr>
              <a:t>Insert new image.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75">
              <a:solidFill>
                <a:srgbClr val="FFFFFF"/>
              </a:solidFill>
            </a:endParaRP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75">
                <a:solidFill>
                  <a:srgbClr val="FFFFFF"/>
                </a:solidFill>
              </a:rPr>
              <a:t>Size and crop without distorting the image by using crop to fit or by holding down the shift key. 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75">
              <a:solidFill>
                <a:srgbClr val="FFFFFF"/>
              </a:solidFill>
            </a:endParaRP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75">
                <a:solidFill>
                  <a:srgbClr val="FFFFFF"/>
                </a:solidFill>
              </a:rPr>
              <a:t>Right click on image and choose “send to back”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75">
              <a:solidFill>
                <a:srgbClr val="FFFFFF"/>
              </a:solidFill>
            </a:endParaRP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75">
                <a:solidFill>
                  <a:srgbClr val="FFFFFF"/>
                </a:solidFill>
              </a:rPr>
              <a:t>Close master view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6216" y="2602681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1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786969" y="3879132"/>
            <a:ext cx="2972787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35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946455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96970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o not remove" hidden="1">
            <a:extLst>
              <a:ext uri="{FF2B5EF4-FFF2-40B4-BE49-F238E27FC236}">
                <a16:creationId xmlns:a16="http://schemas.microsoft.com/office/drawing/2014/main" id="{7B52A27E-A640-4ED4-8FC4-B27BF2EBB02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1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lnSpc>
                <a:spcPct val="90000"/>
              </a:lnSpc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4" lvl="0" indent="-152404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70051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3" y="735591"/>
            <a:ext cx="11404601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GB" sz="1600" i="1" dirty="0"/>
            </a:lvl1pPr>
          </a:lstStyle>
          <a:p>
            <a:pPr marL="152404" lvl="0" indent="-152404">
              <a:lnSpc>
                <a:spcPct val="90000"/>
              </a:lnSpc>
              <a:spcBef>
                <a:spcPts val="0"/>
              </a:spcBef>
            </a:pPr>
            <a:r>
              <a:rPr lang="en-US"/>
              <a:t>Add subtitle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066038D-9868-47CA-B847-A00E191121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3700" y="366541"/>
            <a:ext cx="11404601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4" lvl="0" indent="-152404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8975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0880F50-782A-44AC-A918-A3B5E74BAF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0" y="2593447"/>
            <a:ext cx="4689764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153" y="3869896"/>
            <a:ext cx="4689452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137979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75139" y="264545"/>
            <a:ext cx="11441723" cy="296863"/>
          </a:xfrm>
        </p:spPr>
        <p:txBody>
          <a:bodyPr lIns="0" rIns="0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631070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61EB69DA-0EC5-42BC-8C67-1BA937AF189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09C7F5A-9441-462D-A943-17C1A28C59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9"/>
          <a:stretch/>
        </p:blipFill>
        <p:spPr>
          <a:xfrm>
            <a:off x="-155572" y="-48262"/>
            <a:ext cx="12397917" cy="694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71"/>
          <a:stretch/>
        </p:blipFill>
        <p:spPr>
          <a:xfrm>
            <a:off x="-149476" y="10175"/>
            <a:ext cx="12166601" cy="685696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7259" y="2602681"/>
            <a:ext cx="2972985" cy="1110338"/>
          </a:xfrm>
        </p:spPr>
        <p:txBody>
          <a:bodyPr anchor="ctr"/>
          <a:lstStyle>
            <a:lvl1pPr>
              <a:spcBef>
                <a:spcPts val="0"/>
              </a:spcBef>
              <a:defRPr sz="2800" b="1">
                <a:latin typeface="Century Gothic" panose="020B0502020202020204" pitchFamily="34" charset="0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8012" y="3879130"/>
            <a:ext cx="2972787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588206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7B6A2143-A994-4FD9-A264-A263C9026E3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6" t="12904" r="104" b="4414"/>
          <a:stretch/>
        </p:blipFill>
        <p:spPr>
          <a:xfrm>
            <a:off x="0" y="-38100"/>
            <a:ext cx="12192000" cy="68961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30" y="1143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4662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1D756FBC-2889-4395-891A-966E6AB3E0A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1361230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914834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14" y="344206"/>
            <a:ext cx="11404600" cy="49381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3ECBAB2-AED5-4409-82AF-F2CBF778F1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869320"/>
            <a:ext cx="11404600" cy="26881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9E175D5-489A-4635-BCAF-E4CFACFB85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3700" y="1520825"/>
            <a:ext cx="11403414" cy="34559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997901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able + 2 line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09772EC-2A1F-4E63-925F-436A56F79A7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92113" y="1325366"/>
            <a:ext cx="11404600" cy="4624583"/>
          </a:xfrm>
        </p:spPr>
        <p:txBody>
          <a:bodyPr/>
          <a:lstStyle/>
          <a:p>
            <a:endParaRPr lang="en-ZA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39F38-96AA-4E15-A386-05425E91E8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640292"/>
            <a:ext cx="11404600" cy="58797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D2EA84-588D-4DD5-A4E5-3FA71EA271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0467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2FE5F5-5702-4D7A-BBC7-DC61CF8FCC2D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EA3ED6-02BE-4187-8137-19D3676DC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8545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0577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7987" y="1341438"/>
            <a:ext cx="11412537" cy="49672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423002-22A1-4105-B521-63BA27002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35166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with image no 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ection name here">
            <a:extLst>
              <a:ext uri="{FF2B5EF4-FFF2-40B4-BE49-F238E27FC236}">
                <a16:creationId xmlns:a16="http://schemas.microsoft.com/office/drawing/2014/main" id="{F841A614-AEC1-CF40-8894-3FEECD995A46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282402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25" name="Section name here">
            <a:extLst>
              <a:ext uri="{FF2B5EF4-FFF2-40B4-BE49-F238E27FC236}">
                <a16:creationId xmlns:a16="http://schemas.microsoft.com/office/drawing/2014/main" id="{E6511A7E-C0B9-6042-AEB6-1D8D3F3E7787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1661545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CDF80BE-6831-264D-A275-19546B18D8BA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46470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7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E11EE3D-F982-48D6-B886-E22A5EFB58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9B11EA-C6D0-4AEF-8280-8974D69A3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7400" y="2593447"/>
            <a:ext cx="4689764" cy="1110338"/>
          </a:xfrm>
        </p:spPr>
        <p:txBody>
          <a:bodyPr anchor="ctr"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AD6190-E2A1-4B8A-B7E6-F74781C2D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153" y="3869896"/>
            <a:ext cx="4689452" cy="415781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111546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F9D9DEB-837D-0843-B05E-FA0A6F8F27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2" name="Section name here">
            <a:extLst>
              <a:ext uri="{FF2B5EF4-FFF2-40B4-BE49-F238E27FC236}">
                <a16:creationId xmlns:a16="http://schemas.microsoft.com/office/drawing/2014/main" id="{9B3D95BC-8BCB-CB48-AB92-71452E319EC9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282402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3" name="Section name here">
            <a:extLst>
              <a:ext uri="{FF2B5EF4-FFF2-40B4-BE49-F238E27FC236}">
                <a16:creationId xmlns:a16="http://schemas.microsoft.com/office/drawing/2014/main" id="{1326CFF3-A19E-9E47-A258-C0309CED0D6F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1661545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871180C-3C4F-0944-AB2F-80015A77A30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6589B4-AD9F-1348-A067-6E43D2B9EF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9182" y="1987552"/>
            <a:ext cx="11713633" cy="40682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924538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3A01C11-47C7-491B-9C74-DCF6841DB9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9184" y="1987463"/>
            <a:ext cx="11713632" cy="40682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7952" marR="0" indent="-20795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 lang="en-US" b="0" i="0" dirty="0">
                <a:latin typeface="MTN Brighter Sans Light" pitchFamily="2" charset="77"/>
              </a:defRPr>
            </a:lvl1pPr>
            <a:lvl2pPr marL="361934" marR="0" indent="-117469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b="0" i="0" dirty="0">
                <a:latin typeface="MTN Brighter Sans Light" pitchFamily="2" charset="77"/>
              </a:defRPr>
            </a:lvl2pPr>
            <a:lvl3pPr marL="533373" marR="0" indent="-180966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b="0" i="0" dirty="0">
                <a:latin typeface="MTN Brighter Sans Light" pitchFamily="2" charset="77"/>
              </a:defRPr>
            </a:lvl3pPr>
            <a:lvl4pPr marL="679418" marR="0" indent="-163505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b="0" i="0" dirty="0">
                <a:latin typeface="MTN Brighter Sans Light" pitchFamily="2" charset="77"/>
              </a:defRPr>
            </a:lvl4pPr>
            <a:lvl5pPr marL="815934" marR="0" indent="-15239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b="0" i="0" dirty="0">
                <a:latin typeface="MTN Brighter Sans Light" pitchFamily="2" charset="77"/>
              </a:defRPr>
            </a:lvl5pPr>
          </a:lstStyle>
          <a:p>
            <a:pPr marL="207952" marR="0" lvl="0" indent="-20795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irst level</a:t>
            </a:r>
          </a:p>
          <a:p>
            <a:pPr marL="361934" marR="0" lvl="1" indent="-117469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Second level</a:t>
            </a:r>
          </a:p>
          <a:p>
            <a:pPr marL="533373" marR="0" lvl="2" indent="-180966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Third level</a:t>
            </a:r>
          </a:p>
          <a:p>
            <a:pPr marL="679418" marR="0" lvl="3" indent="-163505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ourth level</a:t>
            </a:r>
          </a:p>
          <a:p>
            <a:pPr marL="815934" marR="0" lvl="4" indent="-15239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 pitchFamily="2" charset="77"/>
              <a:ea typeface="+mn-ea"/>
              <a:cs typeface="+mn-cs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F9D9DEB-837D-0843-B05E-FA0A6F8F27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2" name="Section name here">
            <a:extLst>
              <a:ext uri="{FF2B5EF4-FFF2-40B4-BE49-F238E27FC236}">
                <a16:creationId xmlns:a16="http://schemas.microsoft.com/office/drawing/2014/main" id="{9B3D95BC-8BCB-CB48-AB92-71452E319EC9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282402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3" name="Section name here">
            <a:extLst>
              <a:ext uri="{FF2B5EF4-FFF2-40B4-BE49-F238E27FC236}">
                <a16:creationId xmlns:a16="http://schemas.microsoft.com/office/drawing/2014/main" id="{1326CFF3-A19E-9E47-A258-C0309CED0D6F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1661545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871180C-3C4F-0944-AB2F-80015A77A30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8161907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363D30A-4379-074D-8A9B-35AEF0ED74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91664" y="1987463"/>
            <a:ext cx="5661152" cy="40682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7952" marR="0" indent="-20795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 lang="en-US" b="0" i="0" dirty="0">
                <a:latin typeface="MTN Brighter Sans Light" pitchFamily="2" charset="77"/>
              </a:defRPr>
            </a:lvl1pPr>
            <a:lvl2pPr marL="361934" marR="0" indent="-117469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b="0" i="0" dirty="0">
                <a:latin typeface="MTN Brighter Sans Light" pitchFamily="2" charset="77"/>
              </a:defRPr>
            </a:lvl2pPr>
            <a:lvl3pPr marL="533373" marR="0" indent="-180966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b="0" i="0" dirty="0">
                <a:latin typeface="MTN Brighter Sans Light" pitchFamily="2" charset="77"/>
              </a:defRPr>
            </a:lvl3pPr>
            <a:lvl4pPr marL="679418" marR="0" indent="-163505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b="0" i="0" dirty="0">
                <a:latin typeface="MTN Brighter Sans Light" pitchFamily="2" charset="77"/>
              </a:defRPr>
            </a:lvl4pPr>
            <a:lvl5pPr marL="815934" marR="0" indent="-15239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b="0" i="0" dirty="0">
                <a:latin typeface="MTN Brighter Sans Light" pitchFamily="2" charset="77"/>
              </a:defRPr>
            </a:lvl5pPr>
          </a:lstStyle>
          <a:p>
            <a:pPr marL="207952" marR="0" lvl="0" indent="-20795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irst level</a:t>
            </a:r>
          </a:p>
          <a:p>
            <a:pPr marL="361934" marR="0" lvl="1" indent="-117469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Second level</a:t>
            </a:r>
          </a:p>
          <a:p>
            <a:pPr marL="533373" marR="0" lvl="2" indent="-180966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Third level</a:t>
            </a:r>
          </a:p>
          <a:p>
            <a:pPr marL="679418" marR="0" lvl="3" indent="-163505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ourth level</a:t>
            </a:r>
          </a:p>
          <a:p>
            <a:pPr marL="815934" marR="0" lvl="4" indent="-15239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 pitchFamily="2" charset="77"/>
              <a:ea typeface="+mn-ea"/>
              <a:cs typeface="+mn-cs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4C844A7F-028B-4C40-AD10-6ADF08ACD2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3" name="Section name here">
            <a:extLst>
              <a:ext uri="{FF2B5EF4-FFF2-40B4-BE49-F238E27FC236}">
                <a16:creationId xmlns:a16="http://schemas.microsoft.com/office/drawing/2014/main" id="{B4665B9F-A1C8-C747-82D1-96680999B1C0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282402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4" name="Section name here">
            <a:extLst>
              <a:ext uri="{FF2B5EF4-FFF2-40B4-BE49-F238E27FC236}">
                <a16:creationId xmlns:a16="http://schemas.microsoft.com/office/drawing/2014/main" id="{C6464404-284A-504A-A427-FC32F4B24049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1661545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C035488D-3A04-F048-B002-2B9430E9E40D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20B02-E04B-3340-9B60-7D579BC3BA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69055" y="1987552"/>
            <a:ext cx="5662084" cy="40682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1pPr>
            <a:lvl2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2pPr>
            <a:lvl3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3pPr>
            <a:lvl4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4pPr>
            <a:lvl5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558527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82CC0E3-C737-461B-B4F5-DD460CE8E8EB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239184" y="2259917"/>
            <a:ext cx="11713632" cy="3795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tabl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A0503A3-75D2-2F4E-A8A6-13FC9C70CF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3" name="Section name here">
            <a:extLst>
              <a:ext uri="{FF2B5EF4-FFF2-40B4-BE49-F238E27FC236}">
                <a16:creationId xmlns:a16="http://schemas.microsoft.com/office/drawing/2014/main" id="{24399E81-401B-BA48-9EB3-02E66881EA9D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282402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4" name="Section name here">
            <a:extLst>
              <a:ext uri="{FF2B5EF4-FFF2-40B4-BE49-F238E27FC236}">
                <a16:creationId xmlns:a16="http://schemas.microsoft.com/office/drawing/2014/main" id="{86ED424A-4CCF-CF4A-9D4C-28FA24435F73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1661545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FF3A299B-7FDB-9D47-A2AC-D6F224534958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1688614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ab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82CC0E3-C737-461B-B4F5-DD460CE8E8EB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237051" y="2259917"/>
            <a:ext cx="5662101" cy="37957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tab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D744A32-961D-4C16-A06B-7BF0BC1954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2853" y="2259917"/>
            <a:ext cx="5659963" cy="37957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Slide Number">
            <a:extLst>
              <a:ext uri="{FF2B5EF4-FFF2-40B4-BE49-F238E27FC236}">
                <a16:creationId xmlns:a16="http://schemas.microsoft.com/office/drawing/2014/main" id="{22CAD99F-55C8-3543-B76D-B9B3EB65AEFE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A360388-AEDE-8F45-8733-AF003CEB4E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B3790B2-1825-134B-852F-13AD103997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4" name="Section name here">
            <a:extLst>
              <a:ext uri="{FF2B5EF4-FFF2-40B4-BE49-F238E27FC236}">
                <a16:creationId xmlns:a16="http://schemas.microsoft.com/office/drawing/2014/main" id="{214C28B8-C1EE-714C-93D2-E69A46389C5D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282402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5" name="Section name here">
            <a:extLst>
              <a:ext uri="{FF2B5EF4-FFF2-40B4-BE49-F238E27FC236}">
                <a16:creationId xmlns:a16="http://schemas.microsoft.com/office/drawing/2014/main" id="{F5EB58E1-4515-5F4F-98D6-A9CE1117F462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1661545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</p:spTree>
    <p:extLst>
      <p:ext uri="{BB962C8B-B14F-4D97-AF65-F5344CB8AC3E}">
        <p14:creationId xmlns:p14="http://schemas.microsoft.com/office/powerpoint/2010/main" val="30994796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 graphs with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239184" y="2259916"/>
            <a:ext cx="5659968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8" name="Chart Placeholder 6">
            <a:extLst>
              <a:ext uri="{FF2B5EF4-FFF2-40B4-BE49-F238E27FC236}">
                <a16:creationId xmlns:a16="http://schemas.microsoft.com/office/drawing/2014/main" id="{5C597E66-14C3-4694-B0FA-38C1DD74FC10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292853" y="2259916"/>
            <a:ext cx="5659963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7051" y="4853787"/>
            <a:ext cx="5660913" cy="12019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15262FB-F72B-498B-B79F-9B59916EDB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2849" y="4853787"/>
            <a:ext cx="5659968" cy="12019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5B580475-EA95-1441-99A3-9522EF382750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DE1DBDF3-6792-484D-8102-32DD5B3F59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05323E7-09D3-EA48-8BDE-FCCED72831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7" name="Section name here">
            <a:extLst>
              <a:ext uri="{FF2B5EF4-FFF2-40B4-BE49-F238E27FC236}">
                <a16:creationId xmlns:a16="http://schemas.microsoft.com/office/drawing/2014/main" id="{5D5BE90C-7E1B-A74F-8706-D2B90D2419A2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282402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8" name="Section name here">
            <a:extLst>
              <a:ext uri="{FF2B5EF4-FFF2-40B4-BE49-F238E27FC236}">
                <a16:creationId xmlns:a16="http://schemas.microsoft.com/office/drawing/2014/main" id="{93BA1779-B831-3549-AD9F-FED732A764F4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1661545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</p:spTree>
    <p:extLst>
      <p:ext uri="{BB962C8B-B14F-4D97-AF65-F5344CB8AC3E}">
        <p14:creationId xmlns:p14="http://schemas.microsoft.com/office/powerpoint/2010/main" val="305604824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3 graphs with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245372" y="2259916"/>
            <a:ext cx="3676461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9185" y="4853788"/>
            <a:ext cx="3688835" cy="12019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DF131114-5CBC-41B1-985B-047B23366532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263958" y="2259916"/>
            <a:ext cx="3676461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C12BF7B-ABBE-4780-A79E-3FCF62A44B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3958" y="4853788"/>
            <a:ext cx="3676461" cy="12019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68D16368-8CD5-4861-A780-3CE42EA22692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76358" y="2259916"/>
            <a:ext cx="3676460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D3E05BF-B74A-4ACF-8018-D8A5DE7942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76356" y="4853788"/>
            <a:ext cx="3676459" cy="12019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Slide Number">
            <a:extLst>
              <a:ext uri="{FF2B5EF4-FFF2-40B4-BE49-F238E27FC236}">
                <a16:creationId xmlns:a16="http://schemas.microsoft.com/office/drawing/2014/main" id="{B0D2A918-B405-1041-9109-26E694015DB8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705EDEA9-1D3A-AE42-8A79-B2ADA24250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F899430C-3D76-D940-84F5-DB39215C76A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9" name="Section name here">
            <a:extLst>
              <a:ext uri="{FF2B5EF4-FFF2-40B4-BE49-F238E27FC236}">
                <a16:creationId xmlns:a16="http://schemas.microsoft.com/office/drawing/2014/main" id="{F3C5DEF8-F121-7C45-9A2C-7B3EFACF7B5A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282402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20" name="Section name here">
            <a:extLst>
              <a:ext uri="{FF2B5EF4-FFF2-40B4-BE49-F238E27FC236}">
                <a16:creationId xmlns:a16="http://schemas.microsoft.com/office/drawing/2014/main" id="{F3724B5A-67FA-0445-BDF2-D4FF71D94C32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1661545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</p:spTree>
    <p:extLst>
      <p:ext uri="{BB962C8B-B14F-4D97-AF65-F5344CB8AC3E}">
        <p14:creationId xmlns:p14="http://schemas.microsoft.com/office/powerpoint/2010/main" val="56167580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4 pictures with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25307" y="2259916"/>
            <a:ext cx="2745600" cy="17537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A59421-45FA-43A8-BD25-8229265F468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47440" y="2259916"/>
            <a:ext cx="2745600" cy="1753709"/>
          </a:xfrm>
          <a:prstGeom prst="rect">
            <a:avLst/>
          </a:prstGeom>
          <a:solidFill>
            <a:srgbClr val="EEEFEF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0E7AF78-802D-4740-A91B-59A118A5FB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06025" y="2259916"/>
            <a:ext cx="2745600" cy="17537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5DC0788D-7A25-4604-868F-E66699CD671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21243" y="2259916"/>
            <a:ext cx="2745600" cy="1753709"/>
          </a:xfrm>
          <a:prstGeom prst="rect">
            <a:avLst/>
          </a:prstGeom>
          <a:solidFill>
            <a:srgbClr val="EEEFEF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36" name="Slide Number">
            <a:extLst>
              <a:ext uri="{FF2B5EF4-FFF2-40B4-BE49-F238E27FC236}">
                <a16:creationId xmlns:a16="http://schemas.microsoft.com/office/drawing/2014/main" id="{6A0C0714-5216-3D47-8C15-4B5313DF001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7D4FCA1B-11ED-2247-8C25-4C389C94B1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5894360-DB11-4241-8059-F7AEF8B58E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5CE05BDB-C9F2-034D-9E16-388FC294FD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25307" y="4229449"/>
            <a:ext cx="2751101" cy="1826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1" name="Picture Placeholder 2">
            <a:extLst>
              <a:ext uri="{FF2B5EF4-FFF2-40B4-BE49-F238E27FC236}">
                <a16:creationId xmlns:a16="http://schemas.microsoft.com/office/drawing/2014/main" id="{D751E4B1-940B-EF42-9D84-A66B619C127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47442" y="4229449"/>
            <a:ext cx="2739413" cy="1826247"/>
          </a:xfrm>
          <a:prstGeom prst="rect">
            <a:avLst/>
          </a:prstGeom>
          <a:solidFill>
            <a:srgbClr val="EEEFEF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64E702AD-AF41-AD4C-B30B-6C061B525F4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206026" y="4229449"/>
            <a:ext cx="2738533" cy="1826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72EFD718-6AC0-1646-AEC4-13C7B09934B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15593" y="4229449"/>
            <a:ext cx="2745601" cy="1826247"/>
          </a:xfrm>
          <a:prstGeom prst="rect">
            <a:avLst/>
          </a:prstGeom>
          <a:solidFill>
            <a:srgbClr val="EEEFEF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20" name="Section name here">
            <a:extLst>
              <a:ext uri="{FF2B5EF4-FFF2-40B4-BE49-F238E27FC236}">
                <a16:creationId xmlns:a16="http://schemas.microsoft.com/office/drawing/2014/main" id="{51CFD383-231A-9343-899F-EF7FDC026A9D}"/>
              </a:ext>
            </a:extLst>
          </p:cNvPr>
          <p:cNvSpPr txBox="1">
            <a:spLocks noGrp="1"/>
          </p:cNvSpPr>
          <p:nvPr>
            <p:ph type="body" sz="quarter" idx="32" hasCustomPrompt="1"/>
          </p:nvPr>
        </p:nvSpPr>
        <p:spPr>
          <a:xfrm>
            <a:off x="4370883" y="533735"/>
            <a:ext cx="1282402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21" name="Section name here">
            <a:extLst>
              <a:ext uri="{FF2B5EF4-FFF2-40B4-BE49-F238E27FC236}">
                <a16:creationId xmlns:a16="http://schemas.microsoft.com/office/drawing/2014/main" id="{0D739596-9080-FB4C-AE78-3F18A7CE3CE3}"/>
              </a:ext>
            </a:extLst>
          </p:cNvPr>
          <p:cNvSpPr txBox="1">
            <a:spLocks noGrp="1"/>
          </p:cNvSpPr>
          <p:nvPr>
            <p:ph type="body" sz="quarter" idx="33" hasCustomPrompt="1"/>
          </p:nvPr>
        </p:nvSpPr>
        <p:spPr>
          <a:xfrm>
            <a:off x="1530928" y="533735"/>
            <a:ext cx="1661545" cy="205121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</p:spTree>
    <p:extLst>
      <p:ext uri="{BB962C8B-B14F-4D97-AF65-F5344CB8AC3E}">
        <p14:creationId xmlns:p14="http://schemas.microsoft.com/office/powerpoint/2010/main" val="22707629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with image no 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ge">
            <a:extLst>
              <a:ext uri="{FF2B5EF4-FFF2-40B4-BE49-F238E27FC236}">
                <a16:creationId xmlns:a16="http://schemas.microsoft.com/office/drawing/2014/main" id="{81B3E47C-CC59-344A-AA3D-0607D0763641}"/>
              </a:ext>
            </a:extLst>
          </p:cNvPr>
          <p:cNvSpPr txBox="1"/>
          <p:nvPr userDrawn="1"/>
        </p:nvSpPr>
        <p:spPr>
          <a:xfrm>
            <a:off x="23012401" y="619820"/>
            <a:ext cx="378309" cy="271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 defTabSz="825500">
              <a:lnSpc>
                <a:spcPct val="100000"/>
              </a:lnSpc>
              <a:spcBef>
                <a:spcPts val="0"/>
              </a:spcBef>
              <a:defRPr sz="1100">
                <a:solidFill>
                  <a:srgbClr val="000000"/>
                </a:solidFill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rPr sz="1100"/>
              <a:t>Page</a:t>
            </a: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B03BB9D3-C109-054E-8BF7-6F5417A9AC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39185" y="256461"/>
            <a:ext cx="1066111" cy="533056"/>
          </a:xfrm>
          <a:prstGeom prst="rect">
            <a:avLst/>
          </a:prstGeom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D11AF9A5-86DD-2D42-B55D-6D075361C94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66201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7" userDrawn="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yellow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631734F-3C26-F944-8C59-AED589DAC806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94F158-8057-C344-9E36-D8CA648B8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185" y="4223124"/>
            <a:ext cx="11713632" cy="298672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ctr">
              <a:spcBef>
                <a:spcPts val="0"/>
              </a:spcBef>
              <a:defRPr sz="2100" b="1" i="0">
                <a:latin typeface="MTN Brighter Sans Bold" pitchFamily="2" charset="77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F6E9080D-B79C-2C4D-BB42-A17F4DDA48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5" y="4739108"/>
            <a:ext cx="11713632" cy="207749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351" i="0">
                <a:solidFill>
                  <a:schemeClr val="tx1"/>
                </a:solidFill>
                <a:latin typeface="MTN Brighter Sans" pitchFamily="2" charset="77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993152-7356-FC43-9F53-4DA05BF054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1897" y="2308864"/>
            <a:ext cx="5568203" cy="160108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625FBAD-B46F-6541-95E0-A9E6494842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200651" y="6467520"/>
            <a:ext cx="1790700" cy="177800"/>
          </a:xfrm>
          <a:prstGeom prst="rect">
            <a:avLst/>
          </a:prstGeom>
        </p:spPr>
      </p:pic>
      <p:pic>
        <p:nvPicPr>
          <p:cNvPr id="15" name="Picture 9">
            <a:extLst>
              <a:ext uri="{FF2B5EF4-FFF2-40B4-BE49-F238E27FC236}">
                <a16:creationId xmlns:a16="http://schemas.microsoft.com/office/drawing/2014/main" id="{567F288F-9D69-BF40-AC4D-6296CC380E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219844" y="436693"/>
            <a:ext cx="1752317" cy="87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224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y'ello oval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9E0FEB49-F878-4F94-8F28-15BEAD8080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5" y="0"/>
            <a:ext cx="12190816" cy="6858000"/>
          </a:xfrm>
          <a:prstGeom prst="rect">
            <a:avLst/>
          </a:prstGeom>
        </p:spPr>
      </p:pic>
      <p:sp>
        <p:nvSpPr>
          <p:cNvPr id="15" name="Callout: Bent Line 14">
            <a:extLst>
              <a:ext uri="{FF2B5EF4-FFF2-40B4-BE49-F238E27FC236}">
                <a16:creationId xmlns:a16="http://schemas.microsoft.com/office/drawing/2014/main" id="{824D86B4-5F1B-4FC2-B205-C62806D45397}"/>
              </a:ext>
            </a:extLst>
          </p:cNvPr>
          <p:cNvSpPr/>
          <p:nvPr userDrawn="1"/>
        </p:nvSpPr>
        <p:spPr>
          <a:xfrm>
            <a:off x="13272090" y="1"/>
            <a:ext cx="1855694" cy="46274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7545"/>
              <a:gd name="adj6" fmla="val -55583"/>
            </a:avLst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400" b="1"/>
              <a:t>UPDATE IMAGE</a:t>
            </a:r>
          </a:p>
          <a:p>
            <a:pPr algn="l"/>
            <a:endParaRPr lang="en-GB" sz="1400"/>
          </a:p>
          <a:p>
            <a:pPr algn="l"/>
            <a:r>
              <a:rPr lang="en-GB" sz="1300"/>
              <a:t>View &gt; Master &gt; Slide master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top layer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Insert new image.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Size and crop without distorting the image by using crop to fit or by holding down the shift key. 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Right click on image and choose “send to back”</a:t>
            </a:r>
          </a:p>
          <a:p>
            <a:pPr algn="l"/>
            <a:endParaRPr lang="en-GB" sz="1300"/>
          </a:p>
          <a:p>
            <a:pPr algn="l"/>
            <a:r>
              <a:rPr lang="en-GB" sz="1300"/>
              <a:t>Close master vie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74509B-4785-48AF-A24D-0E1559CB67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66"/>
            <a:ext cx="12189631" cy="685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08272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150C53-920D-CC1D-D0E3-9ADD16CABE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5B959E-9823-D01A-8EB8-3C586C50C5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B2A8B8-95ED-836B-BF8B-686A3DE285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7C255-4856-45E1-9C78-0929E48FE816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1714AF-CB9F-E76E-6AE5-D5733EC84A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A13A45-C034-855A-159A-38C0AFC55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0B41-423C-4B79-A86E-A58B6B4AB6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65412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CDB5A-103B-9FE9-0477-921BB7D4A2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1C9780-F450-8E0A-7146-9DAC8F7A7B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1C333C-C896-6981-0122-77DD0EFBD1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7C255-4856-45E1-9C78-0929E48FE816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BEA57E-2F8F-B8BD-CC08-AA98BB5E5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3CB87B-2D12-62F1-B18C-B8A337ADD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0B41-423C-4B79-A86E-A58B6B4AB6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10414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D1D120-0DE3-1E90-FF07-8D1E4D0A7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26A53F-6D44-B2CC-6AE0-773E04AEF4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7E37B0-860C-4D70-FD69-20A3009A83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7C255-4856-45E1-9C78-0929E48FE816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33F102-AB00-EBC5-BAF1-1FBA6A1AC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9E6BE-AC1F-33A0-F31C-7808621E9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0B41-423C-4B79-A86E-A58B6B4AB6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32681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5420CA-470E-1C05-58BF-BEE4555D06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93E696-4BCA-2500-E11C-7EFEB342F8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F2A0C3-D076-61DC-61D1-9CD247722F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8F8277-EB27-F917-8369-A287655507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7C255-4856-45E1-9C78-0929E48FE816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67BDCF-935A-999F-CFC7-7C9E7DA5A3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092F2D-E551-5D7A-7569-F56C23DC8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0B41-423C-4B79-A86E-A58B6B4AB6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43595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953A45-662F-E8ED-A5F9-A9671AC570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2325FF-EE0A-E9DA-51BA-B9BEE3E0E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C6D3A3-0DD4-46D4-3FAD-E7203A615E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0B8FD2-D343-F59F-93AA-273EEA66D0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5926CB9-B31E-C18A-556D-FDDD57D87D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DD2FAF1-8202-BC6F-460D-AF7D24AE3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7C255-4856-45E1-9C78-0929E48FE816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E8E31AC-2425-9FCC-D14F-39960EC2A3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AF8E7A-312D-320D-E648-669BE1CED1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0B41-423C-4B79-A86E-A58B6B4AB6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55411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9FB425-CC54-7E1C-7642-55634372D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041E73-A1A8-C85A-598A-961CCF507D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7C255-4856-45E1-9C78-0929E48FE816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CC8F47-3438-2B0D-7D16-B092C9C018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5B7760-696B-07BB-403C-54503DF771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0B41-423C-4B79-A86E-A58B6B4AB6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00929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2B399C-5957-AB3A-C5A9-903DB7A0F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7C255-4856-45E1-9C78-0929E48FE816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885930-C31C-731C-17A1-9B407E9FD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12CAAD-75F7-A514-43C0-E61C0C0726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0B41-423C-4B79-A86E-A58B6B4AB6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46967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6D41CC-31C7-C2FF-A4B8-3CC10BA6B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82F59B-B749-24A6-2897-160ADECFEA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1D3190-5D9F-D46E-3E1E-3CC709DDF8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6AF06A-C6D9-1108-2558-6AA908C6F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7C255-4856-45E1-9C78-0929E48FE816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06C2F8-378D-D96C-1559-35D698280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834728-EB39-B55C-8C3F-F3C653202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0B41-423C-4B79-A86E-A58B6B4AB6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7672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337121-B0B5-A502-A84C-365263AD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C52117-1BD6-5897-BCD6-4DBCFB96D88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FA3975-8DE2-DA75-0C20-3621E9D2A7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C7B9D9-7ED3-582B-812B-761DD92D42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7C255-4856-45E1-9C78-0929E48FE816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057475-79A0-8115-1DAE-0BEEBA5FE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D58253-31F4-E2B8-4746-04B3838BB0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0B41-423C-4B79-A86E-A58B6B4AB6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38532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F7C1D7-3FF3-C5AB-9024-A0A0071642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4DAC000-6B2E-A2DA-14C2-61FF023B43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5D6955-ABB9-88B7-9718-D4BCE7EF9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7C255-4856-45E1-9C78-0929E48FE816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B0DCA5-E297-ACFA-C49A-F25AFE6B26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1AB8D2-1D52-B36E-52B1-9BCC07A65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0B41-423C-4B79-A86E-A58B6B4AB6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322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3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10" Type="http://schemas.openxmlformats.org/officeDocument/2006/relationships/image" Target="../media/image34.png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50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1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5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34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image" Target="../media/image35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image" Target="../media/image27.emf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0.xml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image" Target="../media/image29.svg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image" Target="../media/image2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345230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Add title</a:t>
            </a:r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9BBA4E4-9ED0-4AF1-97A2-1A44F92F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520825"/>
            <a:ext cx="11404600" cy="49323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7912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50" r:id="rId2"/>
    <p:sldLayoutId id="2147483697" r:id="rId3"/>
    <p:sldLayoutId id="2147483685" r:id="rId4"/>
    <p:sldLayoutId id="2147483701" r:id="rId5"/>
    <p:sldLayoutId id="2147483702" r:id="rId6"/>
    <p:sldLayoutId id="2147483686" r:id="rId7"/>
    <p:sldLayoutId id="2147483687" r:id="rId8"/>
    <p:sldLayoutId id="2147483690" r:id="rId9"/>
    <p:sldLayoutId id="2147483699" r:id="rId10"/>
    <p:sldLayoutId id="2147483700" r:id="rId11"/>
    <p:sldLayoutId id="2147483689" r:id="rId12"/>
    <p:sldLayoutId id="2147483703" r:id="rId13"/>
    <p:sldLayoutId id="2147483691" r:id="rId14"/>
    <p:sldLayoutId id="2147483704" r:id="rId15"/>
    <p:sldLayoutId id="2147483705" r:id="rId16"/>
    <p:sldLayoutId id="2147483692" r:id="rId17"/>
    <p:sldLayoutId id="2147483655" r:id="rId18"/>
    <p:sldLayoutId id="2147483826" r:id="rId19"/>
    <p:sldLayoutId id="2147483835" r:id="rId20"/>
    <p:sldLayoutId id="2147483837" r:id="rId21"/>
    <p:sldLayoutId id="2147483838" r:id="rId22"/>
    <p:sldLayoutId id="2147483845" r:id="rId23"/>
    <p:sldLayoutId id="2147483847" r:id="rId24"/>
    <p:sldLayoutId id="2147483850" r:id="rId25"/>
    <p:sldLayoutId id="2147483861" r:id="rId26"/>
    <p:sldLayoutId id="2147483862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8" userDrawn="1">
          <p15:clr>
            <a:srgbClr val="F26B43"/>
          </p15:clr>
        </p15:guide>
        <p15:guide id="2" pos="248" userDrawn="1">
          <p15:clr>
            <a:srgbClr val="F26B43"/>
          </p15:clr>
        </p15:guide>
        <p15:guide id="3" pos="7432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pos="3716" userDrawn="1">
          <p15:clr>
            <a:srgbClr val="F26B43"/>
          </p15:clr>
        </p15:guide>
        <p15:guide id="6" pos="3964" userDrawn="1">
          <p15:clr>
            <a:srgbClr val="F26B43"/>
          </p15:clr>
        </p15:guide>
        <p15:guide id="7" orient="horz" pos="3135" userDrawn="1">
          <p15:clr>
            <a:srgbClr val="F26B43"/>
          </p15:clr>
        </p15:guide>
        <p15:guide id="8" orient="horz" pos="3543" userDrawn="1">
          <p15:clr>
            <a:srgbClr val="F26B43"/>
          </p15:clr>
        </p15:guide>
        <p15:guide id="9" orient="horz" pos="958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F3D039B-01D2-4EAA-892B-15F249F73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DC9D26-4F83-C423-1F93-4920167C81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F625B0-CB7B-1131-1B8D-FFDCBD856D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97C255-4856-45E1-9C78-0929E48FE816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94D7F4-8D5D-C327-3BFE-43F7136104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BD63A9-CB10-60AC-79C5-CD0FB27FCE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650B41-423C-4B79-A86E-A58B6B4AB6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233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7" r:id="rId1"/>
    <p:sldLayoutId id="2147484348" r:id="rId2"/>
    <p:sldLayoutId id="2147484349" r:id="rId3"/>
    <p:sldLayoutId id="2147484350" r:id="rId4"/>
    <p:sldLayoutId id="2147484351" r:id="rId5"/>
    <p:sldLayoutId id="2147484352" r:id="rId6"/>
    <p:sldLayoutId id="2147484353" r:id="rId7"/>
    <p:sldLayoutId id="2147484354" r:id="rId8"/>
    <p:sldLayoutId id="2147484355" r:id="rId9"/>
    <p:sldLayoutId id="2147484356" r:id="rId10"/>
    <p:sldLayoutId id="2147484357" r:id="rId11"/>
    <p:sldLayoutId id="2147484358" r:id="rId12"/>
    <p:sldLayoutId id="214748435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A8958741-42AB-478D-A289-D6AAB074AFFD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175084"/>
            <a:ext cx="12192000" cy="1682917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560EFCDF-3CF2-4901-85B6-291B32087FC0}"/>
              </a:ext>
            </a:extLst>
          </p:cNvPr>
          <p:cNvSpPr/>
          <p:nvPr userDrawn="1"/>
        </p:nvSpPr>
        <p:spPr>
          <a:xfrm>
            <a:off x="474153" y="6115298"/>
            <a:ext cx="619125" cy="2462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DA70226B-C0E4-43BB-9549-8E089DB1098E}" type="slidenum">
              <a:rPr lang="en-GB" sz="900" b="1" smtClean="0">
                <a:solidFill>
                  <a:schemeClr val="tx1"/>
                </a:solidFill>
              </a:rPr>
              <a:pPr algn="ctr"/>
              <a:t>‹#›</a:t>
            </a:fld>
            <a:endParaRPr lang="en-GB" sz="900" b="1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345230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1C49C8-B33F-4A56-BFCF-6E70284058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529534"/>
            <a:ext cx="11404600" cy="3447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889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93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708" r:id="rId8"/>
    <p:sldLayoutId id="2147483734" r:id="rId9"/>
    <p:sldLayoutId id="2147483735" r:id="rId10"/>
    <p:sldLayoutId id="2147483736" r:id="rId11"/>
    <p:sldLayoutId id="214748373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GB" sz="12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8">
          <p15:clr>
            <a:srgbClr val="F26B43"/>
          </p15:clr>
        </p15:guide>
        <p15:guide id="2" pos="248">
          <p15:clr>
            <a:srgbClr val="F26B43"/>
          </p15:clr>
        </p15:guide>
        <p15:guide id="3" pos="7432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pos="3716">
          <p15:clr>
            <a:srgbClr val="F26B43"/>
          </p15:clr>
        </p15:guide>
        <p15:guide id="6" pos="3964">
          <p15:clr>
            <a:srgbClr val="F26B43"/>
          </p15:clr>
        </p15:guide>
        <p15:guide id="7" orient="horz" pos="3135">
          <p15:clr>
            <a:srgbClr val="F26B43"/>
          </p15:clr>
        </p15:guide>
        <p15:guide id="8" orient="horz" pos="3543">
          <p15:clr>
            <a:srgbClr val="F26B43"/>
          </p15:clr>
        </p15:guide>
        <p15:guide id="9" orient="horz" pos="9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A8958741-42AB-478D-A289-D6AAB074A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9428" y="5182631"/>
            <a:ext cx="12201427" cy="1675369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560EFCDF-3CF2-4901-85B6-291B32087FC0}"/>
              </a:ext>
            </a:extLst>
          </p:cNvPr>
          <p:cNvSpPr/>
          <p:nvPr userDrawn="1"/>
        </p:nvSpPr>
        <p:spPr>
          <a:xfrm>
            <a:off x="392514" y="6115298"/>
            <a:ext cx="619125" cy="2462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DA70226B-C0E4-43BB-9549-8E089DB1098E}" type="slidenum">
              <a:rPr lang="en-GB" sz="900" b="1" smtClean="0">
                <a:solidFill>
                  <a:schemeClr val="tx1"/>
                </a:solidFill>
              </a:rPr>
              <a:pPr algn="ctr"/>
              <a:t>‹#›</a:t>
            </a:fld>
            <a:endParaRPr lang="en-GB" sz="900" b="1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345230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Add 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1C49C8-B33F-4A56-BFCF-6E70284058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529534"/>
            <a:ext cx="11404600" cy="3447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7226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110000"/>
        </a:lnSpc>
        <a:spcBef>
          <a:spcPts val="300"/>
        </a:spcBef>
        <a:buFont typeface="Arial" panose="020B0604020202020204" pitchFamily="34" charset="0"/>
        <a:buChar char="•"/>
        <a:defRPr lang="en-GB" sz="12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8">
          <p15:clr>
            <a:srgbClr val="F26B43"/>
          </p15:clr>
        </p15:guide>
        <p15:guide id="2" pos="248">
          <p15:clr>
            <a:srgbClr val="F26B43"/>
          </p15:clr>
        </p15:guide>
        <p15:guide id="3" pos="7432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pos="3716">
          <p15:clr>
            <a:srgbClr val="F26B43"/>
          </p15:clr>
        </p15:guide>
        <p15:guide id="6" pos="3964">
          <p15:clr>
            <a:srgbClr val="F26B43"/>
          </p15:clr>
        </p15:guide>
        <p15:guide id="7" orient="horz" pos="3135">
          <p15:clr>
            <a:srgbClr val="F26B43"/>
          </p15:clr>
        </p15:guide>
        <p15:guide id="8" orient="horz" pos="3543">
          <p15:clr>
            <a:srgbClr val="F26B43"/>
          </p15:clr>
        </p15:guide>
        <p15:guide id="9" orient="horz" pos="95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A8958741-42AB-478D-A289-D6AAB074A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9428" y="5182631"/>
            <a:ext cx="12201427" cy="1675369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560EFCDF-3CF2-4901-85B6-291B32087FC0}"/>
              </a:ext>
            </a:extLst>
          </p:cNvPr>
          <p:cNvSpPr/>
          <p:nvPr userDrawn="1"/>
        </p:nvSpPr>
        <p:spPr>
          <a:xfrm>
            <a:off x="392514" y="6115298"/>
            <a:ext cx="619125" cy="2462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DA70226B-C0E4-43BB-9549-8E089DB1098E}" type="slidenum">
              <a:rPr lang="en-GB" sz="900" b="1" smtClean="0">
                <a:solidFill>
                  <a:schemeClr val="tx1"/>
                </a:solidFill>
              </a:rPr>
              <a:pPr algn="ctr"/>
              <a:t>‹#›</a:t>
            </a:fld>
            <a:endParaRPr lang="en-GB" sz="900" b="1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345230"/>
            <a:ext cx="11404600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Add title</a:t>
            </a:r>
            <a:endParaRPr lang="en-GB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760ACE-DD87-404D-A93C-362BECAF2463}"/>
              </a:ext>
            </a:extLst>
          </p:cNvPr>
          <p:cNvSpPr txBox="1"/>
          <p:nvPr userDrawn="1"/>
        </p:nvSpPr>
        <p:spPr>
          <a:xfrm>
            <a:off x="393700" y="6476769"/>
            <a:ext cx="6787029" cy="31067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700"/>
              <a:t>[Add disclaimer text in slide master mode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15F8F22-92ED-4FEE-809E-D42E0D3DF7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520825"/>
            <a:ext cx="11403414" cy="3455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7587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94" r:id="rId2"/>
    <p:sldLayoutId id="2147483659" r:id="rId3"/>
    <p:sldLayoutId id="2147483660" r:id="rId4"/>
    <p:sldLayoutId id="2147483661" r:id="rId5"/>
    <p:sldLayoutId id="2147483663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GB" sz="12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8">
          <p15:clr>
            <a:srgbClr val="F26B43"/>
          </p15:clr>
        </p15:guide>
        <p15:guide id="2" pos="248">
          <p15:clr>
            <a:srgbClr val="F26B43"/>
          </p15:clr>
        </p15:guide>
        <p15:guide id="3" pos="7432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pos="2479" userDrawn="1">
          <p15:clr>
            <a:srgbClr val="F26B43"/>
          </p15:clr>
        </p15:guide>
        <p15:guide id="6" pos="2728" userDrawn="1">
          <p15:clr>
            <a:srgbClr val="F26B43"/>
          </p15:clr>
        </p15:guide>
        <p15:guide id="7" orient="horz" pos="3135">
          <p15:clr>
            <a:srgbClr val="F26B43"/>
          </p15:clr>
        </p15:guide>
        <p15:guide id="8" orient="horz" pos="3543">
          <p15:clr>
            <a:srgbClr val="F26B43"/>
          </p15:clr>
        </p15:guide>
        <p15:guide id="9" orient="horz" pos="958">
          <p15:clr>
            <a:srgbClr val="F26B43"/>
          </p15:clr>
        </p15:guide>
        <p15:guide id="10" pos="4958" userDrawn="1">
          <p15:clr>
            <a:srgbClr val="F26B43"/>
          </p15:clr>
        </p15:guide>
        <p15:guide id="11" pos="5201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EC20E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60EFCDF-3CF2-4901-85B6-291B32087FC0}"/>
              </a:ext>
            </a:extLst>
          </p:cNvPr>
          <p:cNvSpPr/>
          <p:nvPr userDrawn="1"/>
        </p:nvSpPr>
        <p:spPr>
          <a:xfrm>
            <a:off x="11177989" y="6456100"/>
            <a:ext cx="619125" cy="2462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DA70226B-C0E4-43BB-9549-8E089DB1098E}" type="slidenum">
              <a:rPr lang="en-GB" sz="900" b="1" smtClean="0">
                <a:solidFill>
                  <a:schemeClr val="tx1"/>
                </a:solidFill>
              </a:rPr>
              <a:pPr algn="ctr"/>
              <a:t>‹#›</a:t>
            </a:fld>
            <a:endParaRPr lang="en-GB" sz="900" b="1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1570689"/>
            <a:ext cx="9755533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5EA765-0D66-426A-8662-6B38A64BD0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2744788"/>
            <a:ext cx="11404600" cy="3297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 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760ACE-DD87-404D-A93C-362BECAF2463}"/>
              </a:ext>
            </a:extLst>
          </p:cNvPr>
          <p:cNvSpPr txBox="1"/>
          <p:nvPr userDrawn="1"/>
        </p:nvSpPr>
        <p:spPr>
          <a:xfrm>
            <a:off x="393700" y="6476769"/>
            <a:ext cx="6787029" cy="31067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700"/>
              <a:t>[Add disclaimer text in slide master mode]</a:t>
            </a:r>
          </a:p>
        </p:txBody>
      </p:sp>
    </p:spTree>
    <p:extLst>
      <p:ext uri="{BB962C8B-B14F-4D97-AF65-F5344CB8AC3E}">
        <p14:creationId xmlns:p14="http://schemas.microsoft.com/office/powerpoint/2010/main" val="749646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GB" sz="12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48">
          <p15:clr>
            <a:srgbClr val="F26B43"/>
          </p15:clr>
        </p15:guide>
        <p15:guide id="3" pos="7432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pos="2479" userDrawn="1">
          <p15:clr>
            <a:srgbClr val="F26B43"/>
          </p15:clr>
        </p15:guide>
        <p15:guide id="6" pos="2728" userDrawn="1">
          <p15:clr>
            <a:srgbClr val="F26B43"/>
          </p15:clr>
        </p15:guide>
        <p15:guide id="8" orient="horz" pos="3806">
          <p15:clr>
            <a:srgbClr val="F26B43"/>
          </p15:clr>
        </p15:guide>
        <p15:guide id="9" orient="horz" pos="1016">
          <p15:clr>
            <a:srgbClr val="F26B43"/>
          </p15:clr>
        </p15:guide>
        <p15:guide id="10" orient="horz" pos="1729">
          <p15:clr>
            <a:srgbClr val="F26B43"/>
          </p15:clr>
        </p15:guide>
        <p15:guide id="11" pos="4951" userDrawn="1">
          <p15:clr>
            <a:srgbClr val="F26B43"/>
          </p15:clr>
        </p15:guide>
        <p15:guide id="12" pos="5201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>
            <a:extLst>
              <a:ext uri="{FF2B5EF4-FFF2-40B4-BE49-F238E27FC236}">
                <a16:creationId xmlns:a16="http://schemas.microsoft.com/office/drawing/2014/main" id="{560EFCDF-3CF2-4901-85B6-291B32087FC0}"/>
              </a:ext>
            </a:extLst>
          </p:cNvPr>
          <p:cNvSpPr/>
          <p:nvPr userDrawn="1"/>
        </p:nvSpPr>
        <p:spPr>
          <a:xfrm>
            <a:off x="11177989" y="6456100"/>
            <a:ext cx="619125" cy="246221"/>
          </a:xfrm>
          <a:prstGeom prst="ellipse">
            <a:avLst/>
          </a:prstGeom>
          <a:solidFill>
            <a:srgbClr val="FEC2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DA70226B-C0E4-43BB-9549-8E089DB1098E}" type="slidenum">
              <a:rPr lang="en-GB" sz="900" b="1" smtClean="0">
                <a:solidFill>
                  <a:schemeClr val="tx1"/>
                </a:solidFill>
              </a:rPr>
              <a:pPr algn="ctr"/>
              <a:t>‹#›</a:t>
            </a:fld>
            <a:endParaRPr lang="en-GB" sz="900" b="1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514" y="1570689"/>
            <a:ext cx="9755533" cy="4938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5EA765-0D66-426A-8662-6B38A64BD0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2744788"/>
            <a:ext cx="11404600" cy="3297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lnSpc>
                <a:spcPct val="110000"/>
              </a:lnSpc>
              <a:spcBef>
                <a:spcPts val="300"/>
              </a:spcBef>
            </a:pPr>
            <a:r>
              <a:rPr lang="en-US"/>
              <a:t>First level </a:t>
            </a:r>
          </a:p>
          <a:p>
            <a:pPr lvl="1">
              <a:lnSpc>
                <a:spcPct val="110000"/>
              </a:lnSpc>
              <a:spcBef>
                <a:spcPts val="30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  <a:spcBef>
                <a:spcPts val="300"/>
              </a:spcBef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  <a:spcBef>
                <a:spcPts val="30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  <a:spcBef>
                <a:spcPts val="300"/>
              </a:spcBef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760ACE-DD87-404D-A93C-362BECAF2463}"/>
              </a:ext>
            </a:extLst>
          </p:cNvPr>
          <p:cNvSpPr txBox="1"/>
          <p:nvPr userDrawn="1"/>
        </p:nvSpPr>
        <p:spPr>
          <a:xfrm>
            <a:off x="393700" y="6476769"/>
            <a:ext cx="6787029" cy="31067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700"/>
              <a:t>[Add disclaimer text in slide master mode]</a:t>
            </a:r>
          </a:p>
        </p:txBody>
      </p:sp>
    </p:spTree>
    <p:extLst>
      <p:ext uri="{BB962C8B-B14F-4D97-AF65-F5344CB8AC3E}">
        <p14:creationId xmlns:p14="http://schemas.microsoft.com/office/powerpoint/2010/main" val="354729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GB" sz="12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48">
          <p15:clr>
            <a:srgbClr val="F26B43"/>
          </p15:clr>
        </p15:guide>
        <p15:guide id="3" pos="7432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pos="2479" userDrawn="1">
          <p15:clr>
            <a:srgbClr val="F26B43"/>
          </p15:clr>
        </p15:guide>
        <p15:guide id="6" pos="2728" userDrawn="1">
          <p15:clr>
            <a:srgbClr val="F26B43"/>
          </p15:clr>
        </p15:guide>
        <p15:guide id="8" orient="horz" pos="3806">
          <p15:clr>
            <a:srgbClr val="F26B43"/>
          </p15:clr>
        </p15:guide>
        <p15:guide id="9" orient="horz" pos="1016">
          <p15:clr>
            <a:srgbClr val="F26B43"/>
          </p15:clr>
        </p15:guide>
        <p15:guide id="10" orient="horz" pos="1729">
          <p15:clr>
            <a:srgbClr val="F26B43"/>
          </p15:clr>
        </p15:guide>
        <p15:guide id="11" pos="4951" userDrawn="1">
          <p15:clr>
            <a:srgbClr val="F26B43"/>
          </p15:clr>
        </p15:guide>
        <p15:guide id="12" pos="5201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3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"/>
          <a:stretch>
            <a:fillRect/>
          </a:stretch>
        </p:blipFill>
        <p:spPr bwMode="auto">
          <a:xfrm>
            <a:off x="-8467" y="5183188"/>
            <a:ext cx="12200467" cy="167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Oval 31"/>
          <p:cNvSpPr/>
          <p:nvPr userDrawn="1"/>
        </p:nvSpPr>
        <p:spPr>
          <a:xfrm>
            <a:off x="391585" y="6115051"/>
            <a:ext cx="620183" cy="2460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685800">
              <a:defRPr/>
            </a:pPr>
            <a:fld id="{86963CEA-29F4-4886-849D-B20E0AAFC18C}" type="slidenum">
              <a:rPr lang="en-GB" sz="675" b="1">
                <a:solidFill>
                  <a:prstClr val="black"/>
                </a:solidFill>
              </a:rPr>
              <a:pPr algn="ctr" defTabSz="685800">
                <a:defRPr/>
              </a:pPr>
              <a:t>‹#›</a:t>
            </a:fld>
            <a:endParaRPr lang="en-GB" sz="675" b="1">
              <a:solidFill>
                <a:prstClr val="black"/>
              </a:solidFill>
            </a:endParaRPr>
          </a:p>
        </p:txBody>
      </p:sp>
      <p:sp>
        <p:nvSpPr>
          <p:cNvPr id="2052" name="Title Placeholder 1"/>
          <p:cNvSpPr>
            <a:spLocks noGrp="1"/>
          </p:cNvSpPr>
          <p:nvPr>
            <p:ph type="title"/>
          </p:nvPr>
        </p:nvSpPr>
        <p:spPr bwMode="auto">
          <a:xfrm>
            <a:off x="391584" y="344488"/>
            <a:ext cx="114046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Add title</a:t>
            </a:r>
            <a:endParaRPr lang="en-GB" altLang="en-US"/>
          </a:p>
        </p:txBody>
      </p:sp>
      <p:sp>
        <p:nvSpPr>
          <p:cNvPr id="2053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393700" y="1528763"/>
            <a:ext cx="11404600" cy="344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First level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24263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</p:sldLayoutIdLst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Century Gothic" panose="020B0502020202020204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Century Gothic" panose="020B0502020202020204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Century Gothic" panose="020B0502020202020204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Century Gothic" panose="020B050202020202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Century Gothic" panose="020B050202020202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Century Gothic" panose="020B050202020202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Century Gothic" panose="020B050202020202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Century Gothic" panose="020B0502020202020204" pitchFamily="34" charset="0"/>
        </a:defRPr>
      </a:lvl9pPr>
    </p:titleStyle>
    <p:bodyStyle>
      <a:lvl1pPr marL="114300" indent="-114300" algn="l" defTabSz="685800" rtl="0" eaLnBrk="0" fontAlgn="base" hangingPunct="0">
        <a:lnSpc>
          <a:spcPct val="110000"/>
        </a:lnSpc>
        <a:spcBef>
          <a:spcPts val="225"/>
        </a:spcBef>
        <a:spcAft>
          <a:spcPct val="0"/>
        </a:spcAft>
        <a:buFont typeface="Arial" panose="020B0604020202020204" pitchFamily="34" charset="0"/>
        <a:buChar char="•"/>
        <a:defRPr lang="en-US" sz="9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41300" indent="-119063" algn="l" defTabSz="685800" rtl="0" eaLnBrk="0" fontAlgn="base" hangingPunct="0">
        <a:lnSpc>
          <a:spcPct val="110000"/>
        </a:lnSpc>
        <a:spcBef>
          <a:spcPts val="225"/>
        </a:spcBef>
        <a:spcAft>
          <a:spcPct val="0"/>
        </a:spcAft>
        <a:buFont typeface="Arial" panose="020B0604020202020204" pitchFamily="34" charset="0"/>
        <a:buChar char="•"/>
        <a:defRPr lang="en-US" sz="9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9888" indent="-120650" algn="l" defTabSz="685800" rtl="0" eaLnBrk="0" fontAlgn="base" hangingPunct="0">
        <a:lnSpc>
          <a:spcPct val="110000"/>
        </a:lnSpc>
        <a:spcBef>
          <a:spcPts val="225"/>
        </a:spcBef>
        <a:spcAft>
          <a:spcPct val="0"/>
        </a:spcAft>
        <a:buFont typeface="Arial" panose="020B0604020202020204" pitchFamily="34" charset="0"/>
        <a:buChar char="•"/>
        <a:defRPr lang="en-US" sz="9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119063" algn="l" defTabSz="685800" rtl="0" eaLnBrk="0" fontAlgn="base" hangingPunct="0">
        <a:lnSpc>
          <a:spcPct val="110000"/>
        </a:lnSpc>
        <a:spcBef>
          <a:spcPts val="225"/>
        </a:spcBef>
        <a:spcAft>
          <a:spcPct val="0"/>
        </a:spcAft>
        <a:buFont typeface="Arial" panose="020B0604020202020204" pitchFamily="34" charset="0"/>
        <a:buChar char="•"/>
        <a:defRPr lang="en-US" sz="9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1188" indent="-114300" algn="l" defTabSz="685800" rtl="0" eaLnBrk="0" fontAlgn="base" hangingPunct="0">
        <a:lnSpc>
          <a:spcPct val="110000"/>
        </a:lnSpc>
        <a:spcBef>
          <a:spcPts val="225"/>
        </a:spcBef>
        <a:spcAft>
          <a:spcPct val="0"/>
        </a:spcAft>
        <a:buFont typeface="Arial" panose="020B0604020202020204" pitchFamily="34" charset="0"/>
        <a:buChar char="•"/>
        <a:defRPr lang="en-GB" sz="9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9AF84CD-E631-4438-8CA1-C71CCEA1D750}"/>
              </a:ext>
            </a:extLst>
          </p:cNvPr>
          <p:cNvSpPr/>
          <p:nvPr userDrawn="1"/>
        </p:nvSpPr>
        <p:spPr>
          <a:xfrm>
            <a:off x="0" y="6084529"/>
            <a:ext cx="12192000" cy="773473"/>
          </a:xfrm>
          <a:custGeom>
            <a:avLst/>
            <a:gdLst>
              <a:gd name="connsiteX0" fmla="*/ 0 w 12192000"/>
              <a:gd name="connsiteY0" fmla="*/ 0 h 1304408"/>
              <a:gd name="connsiteX1" fmla="*/ 175546 w 12192000"/>
              <a:gd name="connsiteY1" fmla="*/ 37413 h 1304408"/>
              <a:gd name="connsiteX2" fmla="*/ 6096001 w 12192000"/>
              <a:gd name="connsiteY2" fmla="*/ 552828 h 1304408"/>
              <a:gd name="connsiteX3" fmla="*/ 12016456 w 12192000"/>
              <a:gd name="connsiteY3" fmla="*/ 37413 h 1304408"/>
              <a:gd name="connsiteX4" fmla="*/ 12192000 w 12192000"/>
              <a:gd name="connsiteY4" fmla="*/ 0 h 1304408"/>
              <a:gd name="connsiteX5" fmla="*/ 12192000 w 12192000"/>
              <a:gd name="connsiteY5" fmla="*/ 1304408 h 1304408"/>
              <a:gd name="connsiteX6" fmla="*/ 0 w 12192000"/>
              <a:gd name="connsiteY6" fmla="*/ 1304408 h 1304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1304408">
                <a:moveTo>
                  <a:pt x="0" y="0"/>
                </a:moveTo>
                <a:lnTo>
                  <a:pt x="175546" y="37413"/>
                </a:lnTo>
                <a:cubicBezTo>
                  <a:pt x="1865574" y="362819"/>
                  <a:pt x="3902931" y="552828"/>
                  <a:pt x="6096001" y="552828"/>
                </a:cubicBezTo>
                <a:cubicBezTo>
                  <a:pt x="8289071" y="552828"/>
                  <a:pt x="10326428" y="362819"/>
                  <a:pt x="12016456" y="37413"/>
                </a:cubicBezTo>
                <a:lnTo>
                  <a:pt x="12192000" y="0"/>
                </a:lnTo>
                <a:lnTo>
                  <a:pt x="12192000" y="1304408"/>
                </a:lnTo>
                <a:lnTo>
                  <a:pt x="0" y="1304408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solidFill>
                <a:srgbClr val="FFFFFF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60EFCDF-3CF2-4901-85B6-291B32087FC0}"/>
              </a:ext>
            </a:extLst>
          </p:cNvPr>
          <p:cNvSpPr/>
          <p:nvPr userDrawn="1"/>
        </p:nvSpPr>
        <p:spPr>
          <a:xfrm>
            <a:off x="392515" y="6334587"/>
            <a:ext cx="619125" cy="1742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DA70226B-C0E4-43BB-9549-8E089DB1098E}" type="slidenum">
              <a:rPr lang="en-GB" sz="900" b="1" smtClean="0">
                <a:solidFill>
                  <a:prstClr val="black"/>
                </a:solidFill>
              </a:rPr>
              <a:pPr algn="ctr"/>
              <a:t>‹#›</a:t>
            </a:fld>
            <a:endParaRPr lang="en-GB" sz="900" b="1">
              <a:solidFill>
                <a:prstClr val="black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220507-806C-4C0D-A47B-12D542BA85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995363"/>
            <a:ext cx="11404601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07968" marR="0" lvl="0" indent="-207968" algn="l" defTabSz="914423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14"/>
              </a:buBlip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</a:t>
            </a:r>
          </a:p>
          <a:p>
            <a:pPr marL="361959" marR="0" lvl="1" indent="-117477" algn="l" defTabSz="914423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533414" marR="0" lvl="2" indent="-180979" algn="l" defTabSz="914423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679467" marR="0" lvl="3" indent="-163517" algn="l" defTabSz="914423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815996" marR="0" lvl="4" indent="-152404" algn="l" defTabSz="914423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4AAB2EB-4F34-49F7-92B6-22F8C25FAFF0}"/>
              </a:ext>
            </a:extLst>
          </p:cNvPr>
          <p:cNvGrpSpPr/>
          <p:nvPr userDrawn="1"/>
        </p:nvGrpSpPr>
        <p:grpSpPr>
          <a:xfrm>
            <a:off x="11179176" y="6048152"/>
            <a:ext cx="619125" cy="619761"/>
            <a:chOff x="10648109" y="5310073"/>
            <a:chExt cx="1150191" cy="1151372"/>
          </a:xfrm>
        </p:grpSpPr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9A073074-CF67-4211-AB27-794E2BE19E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1">
                <a:solidFill>
                  <a:prstClr val="black"/>
                </a:solidFill>
              </a:endParaRPr>
            </a:p>
          </p:txBody>
        </p:sp>
        <p:sp>
          <p:nvSpPr>
            <p:cNvPr id="9" name="Rectangle 21">
              <a:extLst>
                <a:ext uri="{FF2B5EF4-FFF2-40B4-BE49-F238E27FC236}">
                  <a16:creationId xmlns:a16="http://schemas.microsoft.com/office/drawing/2014/main" id="{E8ACA136-F45E-4FD9-96D2-65AB94B1EE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1">
                <a:solidFill>
                  <a:prstClr val="black"/>
                </a:solidFill>
              </a:endParaRPr>
            </a:p>
          </p:txBody>
        </p:sp>
        <p:sp>
          <p:nvSpPr>
            <p:cNvPr id="10" name="Oval 22">
              <a:extLst>
                <a:ext uri="{FF2B5EF4-FFF2-40B4-BE49-F238E27FC236}">
                  <a16:creationId xmlns:a16="http://schemas.microsoft.com/office/drawing/2014/main" id="{EB2519B0-E144-4EB2-96B7-50F9E685AA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1">
                <a:solidFill>
                  <a:prstClr val="black"/>
                </a:solidFill>
              </a:endParaRPr>
            </a:p>
          </p:txBody>
        </p:sp>
        <p:sp>
          <p:nvSpPr>
            <p:cNvPr id="11" name="Freeform 23">
              <a:extLst>
                <a:ext uri="{FF2B5EF4-FFF2-40B4-BE49-F238E27FC236}">
                  <a16:creationId xmlns:a16="http://schemas.microsoft.com/office/drawing/2014/main" id="{07E2513A-69C7-45B5-BF24-053A4D52A1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1">
                <a:solidFill>
                  <a:prstClr val="black"/>
                </a:solidFill>
              </a:endParaRPr>
            </a:p>
          </p:txBody>
        </p:sp>
        <p:sp>
          <p:nvSpPr>
            <p:cNvPr id="12" name="Freeform 24">
              <a:extLst>
                <a:ext uri="{FF2B5EF4-FFF2-40B4-BE49-F238E27FC236}">
                  <a16:creationId xmlns:a16="http://schemas.microsoft.com/office/drawing/2014/main" id="{6B58C199-7B35-401D-9E1C-2590753DA2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1">
                <a:solidFill>
                  <a:prstClr val="black"/>
                </a:solidFill>
              </a:endParaRPr>
            </a:p>
          </p:txBody>
        </p:sp>
        <p:sp>
          <p:nvSpPr>
            <p:cNvPr id="13" name="Freeform 25">
              <a:extLst>
                <a:ext uri="{FF2B5EF4-FFF2-40B4-BE49-F238E27FC236}">
                  <a16:creationId xmlns:a16="http://schemas.microsoft.com/office/drawing/2014/main" id="{6B0A02A7-1764-46DD-96C6-59D9D5028E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1">
                <a:solidFill>
                  <a:prstClr val="black"/>
                </a:solidFill>
              </a:endParaRPr>
            </a:p>
          </p:txBody>
        </p:sp>
        <p:sp>
          <p:nvSpPr>
            <p:cNvPr id="14" name="Freeform 26">
              <a:extLst>
                <a:ext uri="{FF2B5EF4-FFF2-40B4-BE49-F238E27FC236}">
                  <a16:creationId xmlns:a16="http://schemas.microsoft.com/office/drawing/2014/main" id="{046AE083-6714-46BF-8061-D8EE1A4BC6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1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3541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822" r:id="rId9"/>
    <p:sldLayoutId id="2147483827" r:id="rId10"/>
    <p:sldLayoutId id="2147483828" r:id="rId11"/>
    <p:sldLayoutId id="2147483831" r:id="rId12"/>
  </p:sldLayoutIdLst>
  <p:hf hdr="0" ftr="0" dt="0"/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7968" marR="0" indent="-207968" algn="l" defTabSz="914423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Pct val="80000"/>
        <a:buFontTx/>
        <a:buBlip>
          <a:blip r:embed="rId14"/>
        </a:buBlip>
        <a:tabLst/>
        <a:defRPr lang="en-US"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9" marR="0" indent="-117477" algn="l" defTabSz="914423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Century Gothic" panose="020B0502020202020204" pitchFamily="34" charset="0"/>
        <a:buChar char="–"/>
        <a:tabLst/>
        <a:defRPr lang="en-US"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14" marR="0" indent="-180979" algn="l" defTabSz="914423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79467" marR="0" indent="-163517" algn="l" defTabSz="914423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Century Gothic" panose="020B0502020202020204" pitchFamily="34" charset="0"/>
        <a:buChar char="–"/>
        <a:tabLst/>
        <a:defRPr lang="en-US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15996" marR="0" indent="-152404" algn="l" defTabSz="914423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GB"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8">
          <p15:clr>
            <a:srgbClr val="F26B43"/>
          </p15:clr>
        </p15:guide>
        <p15:guide id="2" pos="249">
          <p15:clr>
            <a:srgbClr val="F26B43"/>
          </p15:clr>
        </p15:guide>
        <p15:guide id="3" pos="7433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pos="3716">
          <p15:clr>
            <a:srgbClr val="F26B43"/>
          </p15:clr>
        </p15:guide>
        <p15:guide id="6" pos="3964">
          <p15:clr>
            <a:srgbClr val="F26B43"/>
          </p15:clr>
        </p15:guide>
        <p15:guide id="7" orient="horz" pos="3360">
          <p15:clr>
            <a:srgbClr val="F26B43"/>
          </p15:clr>
        </p15:guide>
        <p15:guide id="8" orient="horz" pos="627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mpaign Toolkit">
            <a:extLst>
              <a:ext uri="{FF2B5EF4-FFF2-40B4-BE49-F238E27FC236}">
                <a16:creationId xmlns:a16="http://schemas.microsoft.com/office/drawing/2014/main" id="{1CCA64AB-4F49-0549-8C92-1C49CBD73B12}"/>
              </a:ext>
            </a:extLst>
          </p:cNvPr>
          <p:cNvSpPr txBox="1"/>
          <p:nvPr userDrawn="1"/>
        </p:nvSpPr>
        <p:spPr>
          <a:xfrm>
            <a:off x="1530929" y="341343"/>
            <a:ext cx="80631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 defTabSz="825500">
              <a:lnSpc>
                <a:spcPct val="100000"/>
              </a:lnSpc>
              <a:spcBef>
                <a:spcPts val="0"/>
              </a:spcBef>
              <a:defRPr sz="1100">
                <a:solidFill>
                  <a:srgbClr val="000000"/>
                </a:solidFill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rPr lang="en-US" sz="800"/>
              <a:t>Presentation Name</a:t>
            </a:r>
            <a:endParaRPr sz="800"/>
          </a:p>
        </p:txBody>
      </p:sp>
      <p:sp>
        <p:nvSpPr>
          <p:cNvPr id="3" name="Section">
            <a:extLst>
              <a:ext uri="{FF2B5EF4-FFF2-40B4-BE49-F238E27FC236}">
                <a16:creationId xmlns:a16="http://schemas.microsoft.com/office/drawing/2014/main" id="{8BFB4CA4-1BC3-C144-97CF-72F244F2ABC6}"/>
              </a:ext>
            </a:extLst>
          </p:cNvPr>
          <p:cNvSpPr txBox="1"/>
          <p:nvPr userDrawn="1"/>
        </p:nvSpPr>
        <p:spPr>
          <a:xfrm>
            <a:off x="4352676" y="341343"/>
            <a:ext cx="307777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 defTabSz="825500">
              <a:lnSpc>
                <a:spcPct val="100000"/>
              </a:lnSpc>
              <a:spcBef>
                <a:spcPts val="0"/>
              </a:spcBef>
              <a:defRPr sz="1100">
                <a:solidFill>
                  <a:srgbClr val="000000"/>
                </a:solidFill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rPr sz="800"/>
              <a:t>Section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CE84638C-BC7C-2841-A2DE-0B31E6AEFB5B}"/>
              </a:ext>
            </a:extLst>
          </p:cNvPr>
          <p:cNvSpPr/>
          <p:nvPr userDrawn="1"/>
        </p:nvSpPr>
        <p:spPr>
          <a:xfrm>
            <a:off x="237051" y="1054467"/>
            <a:ext cx="11717899" cy="0"/>
          </a:xfrm>
          <a:prstGeom prst="lin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algn="ctr" defTabSz="825479">
              <a:lnSpc>
                <a:spcPct val="100000"/>
              </a:lnSpc>
              <a:spcBef>
                <a:spcPts val="0"/>
              </a:spcBef>
              <a:defRPr sz="320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EE886B-D030-EB49-A28B-83640898E656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67778" y="6467520"/>
            <a:ext cx="1790700" cy="1778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EF9F1EF1-7816-244C-BC91-AF21C801AF40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239185" y="256461"/>
            <a:ext cx="1066111" cy="533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853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  <p:sldLayoutId id="2147484253" r:id="rId3"/>
    <p:sldLayoutId id="2147484231" r:id="rId4"/>
    <p:sldLayoutId id="2147484232" r:id="rId5"/>
    <p:sldLayoutId id="2147484233" r:id="rId6"/>
    <p:sldLayoutId id="2147484234" r:id="rId7"/>
    <p:sldLayoutId id="2147484235" r:id="rId8"/>
    <p:sldLayoutId id="2147484236" r:id="rId9"/>
    <p:sldLayoutId id="2147484252" r:id="rId10"/>
    <p:sldLayoutId id="2147484345" r:id="rId11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7952" marR="0" indent="-207952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Pct val="80000"/>
        <a:buFontTx/>
        <a:buBlip>
          <a:blip r:embed="rId16"/>
        </a:buBlip>
        <a:tabLst/>
        <a:defRPr lang="en-US" sz="1200" kern="120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1pPr>
      <a:lvl2pPr marL="361934" marR="0" indent="-117469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Century Gothic" panose="020B0502020202020204" pitchFamily="34" charset="0"/>
        <a:buChar char="–"/>
        <a:tabLst/>
        <a:defRPr lang="en-US" sz="1200" kern="120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2pPr>
      <a:lvl3pPr marL="533373" marR="0" indent="-180966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1200" kern="120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3pPr>
      <a:lvl4pPr marL="679418" marR="0" indent="-163505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Century Gothic" panose="020B0502020202020204" pitchFamily="34" charset="0"/>
        <a:buChar char="–"/>
        <a:tabLst/>
        <a:defRPr lang="en-US" sz="1200" kern="120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4pPr>
      <a:lvl5pPr marL="815934" marR="0" indent="-152392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GB" sz="1200" kern="1200" dirty="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 userDrawn="1">
          <p15:clr>
            <a:srgbClr val="F26B43"/>
          </p15:clr>
        </p15:guide>
        <p15:guide id="2" pos="151" userDrawn="1">
          <p15:clr>
            <a:srgbClr val="F26B43"/>
          </p15:clr>
        </p15:guide>
        <p15:guide id="3" pos="7529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2.xml"/><Relationship Id="rId1" Type="http://schemas.openxmlformats.org/officeDocument/2006/relationships/tags" Target="../tags/tag12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527EC5-8076-364F-95D4-D137CA343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185" y="4223123"/>
            <a:ext cx="11713632" cy="1173783"/>
          </a:xfrm>
        </p:spPr>
        <p:txBody>
          <a:bodyPr/>
          <a:lstStyle/>
          <a:p>
            <a:r>
              <a:rPr lang="en-US" dirty="0">
                <a:latin typeface="MTN Brighter Sans Bold"/>
              </a:rPr>
              <a:t>Open API Hackathon 2022</a:t>
            </a:r>
            <a:br>
              <a:rPr lang="en-US" dirty="0">
                <a:latin typeface="MTN Brighter Sans Bold"/>
              </a:rPr>
            </a:br>
            <a:r>
              <a:rPr lang="en-US" dirty="0">
                <a:latin typeface="MTN Brighter Sans Bold"/>
              </a:rPr>
              <a:t>Team Name</a:t>
            </a:r>
            <a:br>
              <a:rPr lang="en-US" dirty="0">
                <a:latin typeface="MTN Brighter Sans Bold"/>
              </a:rPr>
            </a:br>
            <a:r>
              <a:rPr lang="en-US" dirty="0">
                <a:latin typeface="MTN Brighter Sans Bold"/>
              </a:rPr>
              <a:t>Idea Name</a:t>
            </a:r>
            <a:endParaRPr lang="en-GH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561239-3F26-0649-8AA9-CE94A294F17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602413"/>
            <a:ext cx="342900" cy="174625"/>
          </a:xfrm>
          <a:prstGeom prst="rect">
            <a:avLst/>
          </a:prstGeom>
        </p:spPr>
        <p:txBody>
          <a:bodyPr/>
          <a:lstStyle/>
          <a:p>
            <a:pPr algn="ctr"/>
            <a:fld id="{6C9EDA83-5074-4C24-8467-F331177C9D01}" type="slidenum">
              <a:rPr lang="en-ZA" smtClean="0"/>
              <a:pPr algn="ctr"/>
              <a:t>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245132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FA8641A-114D-3353-00EA-254C69A1751D}"/>
              </a:ext>
            </a:extLst>
          </p:cNvPr>
          <p:cNvSpPr txBox="1"/>
          <p:nvPr/>
        </p:nvSpPr>
        <p:spPr>
          <a:xfrm>
            <a:off x="3386581" y="2928439"/>
            <a:ext cx="60944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Idea Title</a:t>
            </a:r>
            <a:r>
              <a:rPr lang="en-US" b="0" i="1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: Written on the cover page</a:t>
            </a:r>
            <a:endParaRPr lang="en-US" b="0" i="0" dirty="0">
              <a:solidFill>
                <a:srgbClr val="46535E"/>
              </a:solidFill>
              <a:effectLst/>
              <a:latin typeface="MTN Brighter Sans" panose="000005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DA7517-74CD-C87F-8A04-E8D51D84BBF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93890" y="533736"/>
            <a:ext cx="1714496" cy="369332"/>
          </a:xfrm>
        </p:spPr>
        <p:txBody>
          <a:bodyPr/>
          <a:lstStyle/>
          <a:p>
            <a:r>
              <a:rPr lang="en-GB" dirty="0"/>
              <a:t>Idea Title</a:t>
            </a:r>
          </a:p>
        </p:txBody>
      </p:sp>
    </p:spTree>
    <p:extLst>
      <p:ext uri="{BB962C8B-B14F-4D97-AF65-F5344CB8AC3E}">
        <p14:creationId xmlns:p14="http://schemas.microsoft.com/office/powerpoint/2010/main" val="13460921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4A4D4A-0961-4A88-8ED5-2E00CCE25F8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0154" y="300187"/>
            <a:ext cx="1615827" cy="205121"/>
          </a:xfrm>
        </p:spPr>
        <p:txBody>
          <a:bodyPr/>
          <a:lstStyle/>
          <a:p>
            <a:r>
              <a:rPr lang="en-US" dirty="0"/>
              <a:t>Problem Statement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C0C02D-7FA1-1191-B7DB-9A5CF8310835}"/>
              </a:ext>
            </a:extLst>
          </p:cNvPr>
          <p:cNvSpPr txBox="1"/>
          <p:nvPr/>
        </p:nvSpPr>
        <p:spPr>
          <a:xfrm>
            <a:off x="2960015" y="2749253"/>
            <a:ext cx="60944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Problem Statement: </a:t>
            </a:r>
            <a:r>
              <a:rPr lang="en-US" b="0" i="1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What is the specific problem?</a:t>
            </a:r>
            <a:endParaRPr lang="en-US" b="0" i="0" dirty="0">
              <a:solidFill>
                <a:srgbClr val="46535E"/>
              </a:solidFill>
              <a:effectLst/>
              <a:latin typeface="MTN Brighter Sa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29293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4A4D4A-0961-4A88-8ED5-2E00CCE25F8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7033" y="359564"/>
            <a:ext cx="815929" cy="205121"/>
          </a:xfrm>
        </p:spPr>
        <p:txBody>
          <a:bodyPr/>
          <a:lstStyle/>
          <a:p>
            <a:r>
              <a:rPr lang="en-US" dirty="0"/>
              <a:t>Approach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008A81B-23E7-408F-6224-4B5342C59DAD}"/>
              </a:ext>
            </a:extLst>
          </p:cNvPr>
          <p:cNvSpPr txBox="1"/>
          <p:nvPr/>
        </p:nvSpPr>
        <p:spPr>
          <a:xfrm>
            <a:off x="2969442" y="2369279"/>
            <a:ext cx="60944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Approach: </a:t>
            </a:r>
            <a:r>
              <a:rPr lang="en-US" b="0" i="1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How will you solve it? Problem by technology (your solution)?</a:t>
            </a:r>
            <a:endParaRPr lang="en-US" b="0" i="0" dirty="0">
              <a:solidFill>
                <a:srgbClr val="46535E"/>
              </a:solidFill>
              <a:effectLst/>
              <a:latin typeface="MTN Brighter Sa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31761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4A4D4A-0961-4A88-8ED5-2E00CCE25F8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05" y="312062"/>
            <a:ext cx="1317668" cy="205121"/>
          </a:xfrm>
        </p:spPr>
        <p:txBody>
          <a:bodyPr/>
          <a:lstStyle/>
          <a:p>
            <a:r>
              <a:rPr lang="en-US" b="1" i="1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Business model</a:t>
            </a:r>
            <a:r>
              <a:rPr lang="en-US" b="1" i="0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 </a:t>
            </a:r>
            <a:endParaRPr lang="en-GB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F6192E-F291-5748-377F-FE4B4DCDA203}"/>
              </a:ext>
            </a:extLst>
          </p:cNvPr>
          <p:cNvSpPr txBox="1"/>
          <p:nvPr/>
        </p:nvSpPr>
        <p:spPr>
          <a:xfrm>
            <a:off x="1269781" y="3059668"/>
            <a:ext cx="107836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i="1" dirty="0">
                <a:solidFill>
                  <a:srgbClr val="46535E"/>
                </a:solidFill>
                <a:latin typeface="MTN Brighter Sans" panose="00000500000000000000" pitchFamily="2" charset="0"/>
              </a:rPr>
              <a:t>B</a:t>
            </a:r>
            <a:r>
              <a:rPr lang="en-US" b="1" i="1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usiness model: </a:t>
            </a:r>
            <a:r>
              <a:rPr lang="en-US" i="1" dirty="0">
                <a:solidFill>
                  <a:srgbClr val="46535E"/>
                </a:solidFill>
                <a:latin typeface="MTN Brighter Sans" panose="00000500000000000000" pitchFamily="2" charset="0"/>
              </a:rPr>
              <a:t>H</a:t>
            </a:r>
            <a:r>
              <a:rPr lang="en-US" b="0" i="1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ow do you intend to monetize your solution</a:t>
            </a:r>
          </a:p>
        </p:txBody>
      </p:sp>
    </p:spTree>
    <p:extLst>
      <p:ext uri="{BB962C8B-B14F-4D97-AF65-F5344CB8AC3E}">
        <p14:creationId xmlns:p14="http://schemas.microsoft.com/office/powerpoint/2010/main" val="36575699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4A4D4A-0961-4A88-8ED5-2E00CCE25F8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05" y="312062"/>
            <a:ext cx="1902765" cy="205121"/>
          </a:xfrm>
        </p:spPr>
        <p:txBody>
          <a:bodyPr/>
          <a:lstStyle/>
          <a:p>
            <a:r>
              <a:rPr lang="en-US" b="1" i="0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Competitive advantage</a:t>
            </a:r>
            <a:endParaRPr lang="en-GB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F6192E-F291-5748-377F-FE4B4DCDA203}"/>
              </a:ext>
            </a:extLst>
          </p:cNvPr>
          <p:cNvSpPr txBox="1"/>
          <p:nvPr/>
        </p:nvSpPr>
        <p:spPr>
          <a:xfrm>
            <a:off x="1269781" y="3059668"/>
            <a:ext cx="107836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i="0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Competitive advantage: </a:t>
            </a:r>
            <a:r>
              <a:rPr lang="en-US" dirty="0">
                <a:solidFill>
                  <a:srgbClr val="46535E"/>
                </a:solidFill>
                <a:latin typeface="MTN Brighter Sans" panose="00000500000000000000" pitchFamily="2" charset="0"/>
              </a:rPr>
              <a:t>W</a:t>
            </a:r>
            <a:r>
              <a:rPr lang="en-US" b="0" i="0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hat advantages does your solution have overs others in the market</a:t>
            </a:r>
          </a:p>
        </p:txBody>
      </p:sp>
    </p:spTree>
    <p:extLst>
      <p:ext uri="{BB962C8B-B14F-4D97-AF65-F5344CB8AC3E}">
        <p14:creationId xmlns:p14="http://schemas.microsoft.com/office/powerpoint/2010/main" val="29568243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54A4D4A-0961-4A88-8ED5-2E00CCE25F8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19531" y="312062"/>
            <a:ext cx="2808461" cy="205121"/>
          </a:xfrm>
        </p:spPr>
        <p:txBody>
          <a:bodyPr/>
          <a:lstStyle/>
          <a:p>
            <a:r>
              <a:rPr lang="en-US" dirty="0"/>
              <a:t>Solution Overview with a diagram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F6192E-F291-5748-377F-FE4B4DCDA203}"/>
              </a:ext>
            </a:extLst>
          </p:cNvPr>
          <p:cNvSpPr txBox="1"/>
          <p:nvPr/>
        </p:nvSpPr>
        <p:spPr>
          <a:xfrm>
            <a:off x="1269781" y="3059668"/>
            <a:ext cx="96524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1" i="0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Overview with a diagram: </a:t>
            </a:r>
            <a:r>
              <a:rPr lang="en-US" b="0" i="1" dirty="0">
                <a:solidFill>
                  <a:srgbClr val="46535E"/>
                </a:solidFill>
                <a:effectLst/>
                <a:latin typeface="MTN Brighter Sans" panose="00000500000000000000" pitchFamily="2" charset="0"/>
              </a:rPr>
              <a:t>Share your solutions/prototype mock image with a diagram</a:t>
            </a:r>
            <a:endParaRPr lang="en-US" b="0" i="0" dirty="0">
              <a:solidFill>
                <a:srgbClr val="46535E"/>
              </a:solidFill>
              <a:effectLst/>
              <a:latin typeface="MTN Brighter Sa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40301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B7F7D6B-0ADE-774C-98C9-6BEA704CD7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B7F7D6B-0ADE-774C-98C9-6BEA704CD7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7D3ADAEE-4987-2D44-A798-869C87C57B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182" y="3133203"/>
            <a:ext cx="11713637" cy="1218795"/>
          </a:xfrm>
        </p:spPr>
        <p:txBody>
          <a:bodyPr vert="horz"/>
          <a:lstStyle/>
          <a:p>
            <a:r>
              <a:rPr lang="en-US" sz="88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60663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Internal"/>
  <p:tag name="BJHEADERFOOTERTEXTMARKING" val="Intern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Internal"/>
  <p:tag name="BJHEADERFOOTERTEXTMARKING" val="Interna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S5U5W5Wfi3wmSxXQ2q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Titles">
  <a:themeElements>
    <a:clrScheme name="MTN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FFCB05"/>
      </a:accent1>
      <a:accent2>
        <a:srgbClr val="666666"/>
      </a:accent2>
      <a:accent3>
        <a:srgbClr val="00678F"/>
      </a:accent3>
      <a:accent4>
        <a:srgbClr val="000000"/>
      </a:accent4>
      <a:accent5>
        <a:srgbClr val="999999"/>
      </a:accent5>
      <a:accent6>
        <a:srgbClr val="FF0000"/>
      </a:accent6>
      <a:hlink>
        <a:srgbClr val="00678F"/>
      </a:hlink>
      <a:folHlink>
        <a:srgbClr val="666666"/>
      </a:folHlink>
    </a:clrScheme>
    <a:fontScheme name="Custom 5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ottom arch_2 column">
  <a:themeElements>
    <a:clrScheme name="MTN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FFCB05"/>
      </a:accent1>
      <a:accent2>
        <a:srgbClr val="666666"/>
      </a:accent2>
      <a:accent3>
        <a:srgbClr val="000000"/>
      </a:accent3>
      <a:accent4>
        <a:srgbClr val="00678F"/>
      </a:accent4>
      <a:accent5>
        <a:srgbClr val="999999"/>
      </a:accent5>
      <a:accent6>
        <a:srgbClr val="FF0000"/>
      </a:accent6>
      <a:hlink>
        <a:srgbClr val="00678F"/>
      </a:hlink>
      <a:folHlink>
        <a:srgbClr val="666666"/>
      </a:folHlink>
    </a:clrScheme>
    <a:fontScheme name="Custom 5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ottom arch_2 column">
  <a:themeElements>
    <a:clrScheme name="MTN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FFCB05"/>
      </a:accent1>
      <a:accent2>
        <a:srgbClr val="666666"/>
      </a:accent2>
      <a:accent3>
        <a:srgbClr val="000000"/>
      </a:accent3>
      <a:accent4>
        <a:srgbClr val="00678F"/>
      </a:accent4>
      <a:accent5>
        <a:srgbClr val="999999"/>
      </a:accent5>
      <a:accent6>
        <a:srgbClr val="FF0000"/>
      </a:accent6>
      <a:hlink>
        <a:srgbClr val="00678F"/>
      </a:hlink>
      <a:folHlink>
        <a:srgbClr val="666666"/>
      </a:folHlink>
    </a:clrScheme>
    <a:fontScheme name="Custom 5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ottom arch_3 column">
  <a:themeElements>
    <a:clrScheme name="MTN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FFCB05"/>
      </a:accent1>
      <a:accent2>
        <a:srgbClr val="666666"/>
      </a:accent2>
      <a:accent3>
        <a:srgbClr val="000000"/>
      </a:accent3>
      <a:accent4>
        <a:srgbClr val="00678F"/>
      </a:accent4>
      <a:accent5>
        <a:srgbClr val="999999"/>
      </a:accent5>
      <a:accent6>
        <a:srgbClr val="FF0000"/>
      </a:accent6>
      <a:hlink>
        <a:srgbClr val="00678F"/>
      </a:hlink>
      <a:folHlink>
        <a:srgbClr val="666666"/>
      </a:folHlink>
    </a:clrScheme>
    <a:fontScheme name="Custom 5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Bef>
            <a:spcPts val="300"/>
          </a:spcBef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for fullpage graphs_only yellow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Bef>
            <a:spcPts val="300"/>
          </a:spcBef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for fullpage graphs_only whi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Bef>
            <a:spcPts val="300"/>
          </a:spcBef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Bottom arch_2 column">
  <a:themeElements>
    <a:clrScheme name="MTN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FFCB05"/>
      </a:accent1>
      <a:accent2>
        <a:srgbClr val="666666"/>
      </a:accent2>
      <a:accent3>
        <a:srgbClr val="000000"/>
      </a:accent3>
      <a:accent4>
        <a:srgbClr val="00678F"/>
      </a:accent4>
      <a:accent5>
        <a:srgbClr val="999999"/>
      </a:accent5>
      <a:accent6>
        <a:srgbClr val="FF0000"/>
      </a:accent6>
      <a:hlink>
        <a:srgbClr val="00678F"/>
      </a:hlink>
      <a:folHlink>
        <a:srgbClr val="666666"/>
      </a:folHlink>
    </a:clrScheme>
    <a:fontScheme name="Custom 5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Bottom arch no logo">
  <a:themeElements>
    <a:clrScheme name="MTN">
      <a:dk1>
        <a:sysClr val="windowText" lastClr="000000"/>
      </a:dk1>
      <a:lt1>
        <a:srgbClr val="FFFFFF"/>
      </a:lt1>
      <a:dk2>
        <a:srgbClr val="323232"/>
      </a:dk2>
      <a:lt2>
        <a:srgbClr val="FFFFFF"/>
      </a:lt2>
      <a:accent1>
        <a:srgbClr val="FFCB05"/>
      </a:accent1>
      <a:accent2>
        <a:srgbClr val="F5821E"/>
      </a:accent2>
      <a:accent3>
        <a:srgbClr val="E12D6E"/>
      </a:accent3>
      <a:accent4>
        <a:srgbClr val="5A1E5A"/>
      </a:accent4>
      <a:accent5>
        <a:srgbClr val="0F6987"/>
      </a:accent5>
      <a:accent6>
        <a:srgbClr val="0FAF4B"/>
      </a:accent6>
      <a:hlink>
        <a:srgbClr val="323232"/>
      </a:hlink>
      <a:folHlink>
        <a:srgbClr val="7F7F7F"/>
      </a:folHlink>
    </a:clrScheme>
    <a:fontScheme name="MTN new">
      <a:majorFont>
        <a:latin typeface="MTN Brighter Sans"/>
        <a:ea typeface=""/>
        <a:cs typeface=""/>
      </a:majorFont>
      <a:minorFont>
        <a:latin typeface="MTN Brighter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TN template" id="{EBF34E67-6CD0-4BAE-913B-FD23589AFCB7}" vid="{CFCF4C73-955C-411A-9565-6AE48EDE0621}"/>
    </a:ext>
  </a:extLst>
</a:theme>
</file>

<file path=ppt/theme/theme9.xml><?xml version="1.0" encoding="utf-8"?>
<a:theme xmlns:a="http://schemas.openxmlformats.org/drawingml/2006/main" name="Content Slides_Option 1">
  <a:themeElements>
    <a:clrScheme name="MTN 2">
      <a:dk1>
        <a:srgbClr val="000000"/>
      </a:dk1>
      <a:lt1>
        <a:srgbClr val="FFFFFF"/>
      </a:lt1>
      <a:dk2>
        <a:srgbClr val="FFCB05"/>
      </a:dk2>
      <a:lt2>
        <a:srgbClr val="FFFFFF"/>
      </a:lt2>
      <a:accent1>
        <a:srgbClr val="FFCB05"/>
      </a:accent1>
      <a:accent2>
        <a:srgbClr val="000000"/>
      </a:accent2>
      <a:accent3>
        <a:srgbClr val="A0A0A0"/>
      </a:accent3>
      <a:accent4>
        <a:srgbClr val="004F70"/>
      </a:accent4>
      <a:accent5>
        <a:srgbClr val="BDBDBD"/>
      </a:accent5>
      <a:accent6>
        <a:srgbClr val="636363"/>
      </a:accent6>
      <a:hlink>
        <a:srgbClr val="00678F"/>
      </a:hlink>
      <a:folHlink>
        <a:srgbClr val="666666"/>
      </a:folHlink>
    </a:clrScheme>
    <a:fontScheme name="Custom 5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N_PPT Template_20171219.potx" id="{7522311C-6251-44DA-95D9-A34EC3E34410}" vid="{CFDB710E-1A66-416D-B954-10BD232F427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3C441E45828C4A94107C78251E7C9D" ma:contentTypeVersion="12" ma:contentTypeDescription="Create a new document." ma:contentTypeScope="" ma:versionID="f4f216ffa51ec16ff2f9b26c5458bc6d">
  <xsd:schema xmlns:xsd="http://www.w3.org/2001/XMLSchema" xmlns:xs="http://www.w3.org/2001/XMLSchema" xmlns:p="http://schemas.microsoft.com/office/2006/metadata/properties" xmlns:ns3="33726344-51dd-413a-8adf-6c28b821e9a8" xmlns:ns4="4d5c7e29-ca62-4abd-ac90-03a92ff72eab" targetNamespace="http://schemas.microsoft.com/office/2006/metadata/properties" ma:root="true" ma:fieldsID="5444acc8e839bc4d6aaae6f7704e8896" ns3:_="" ns4:_="">
    <xsd:import namespace="33726344-51dd-413a-8adf-6c28b821e9a8"/>
    <xsd:import namespace="4d5c7e29-ca62-4abd-ac90-03a92ff72ea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726344-51dd-413a-8adf-6c28b821e9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5c7e29-ca62-4abd-ac90-03a92ff72ea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d5c7e29-ca62-4abd-ac90-03a92ff72eab">
      <UserInfo>
        <DisplayName>Irene Awuku-Asabre [ MTN Ghana ]</DisplayName>
        <AccountId>20</AccountId>
        <AccountType/>
      </UserInfo>
      <UserInfo>
        <DisplayName>Cutie Mireku [ MTN Ghana ]</DisplayName>
        <AccountId>12</AccountId>
        <AccountType/>
      </UserInfo>
      <UserInfo>
        <DisplayName>Tito Anabagana [ MTN Ghana ]</DisplayName>
        <AccountId>19</AccountId>
        <AccountType/>
      </UserInfo>
      <UserInfo>
        <DisplayName>Bertha Slippe [ MTN Ghana ]</DisplayName>
        <AccountId>23</AccountId>
        <AccountType/>
      </UserInfo>
      <UserInfo>
        <DisplayName>Herman Odame [ MTN Ghana ]</DisplayName>
        <AccountId>10</AccountId>
        <AccountType/>
      </UserInfo>
    </SharedWithUsers>
  </documentManagement>
</p:properties>
</file>

<file path=customXml/item4.xml><?xml version="1.0" encoding="utf-8"?>
<sisl xmlns:xsi="http://www.w3.org/2001/XMLSchema-instance" xmlns:xsd="http://www.w3.org/2001/XMLSchema" xmlns="http://www.boldonjames.com/2008/01/sie/internal/label" sislVersion="0" policy="bf516a00-941e-4515-902e-04580dc361de" origin="userSelected">
  <element uid="id_classification_generalbusiness" value=""/>
</sisl>
</file>

<file path=customXml/itemProps1.xml><?xml version="1.0" encoding="utf-8"?>
<ds:datastoreItem xmlns:ds="http://schemas.openxmlformats.org/officeDocument/2006/customXml" ds:itemID="{29652F87-C2F1-4E6F-8B02-1A8AB305D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3726344-51dd-413a-8adf-6c28b821e9a8"/>
    <ds:schemaRef ds:uri="4d5c7e29-ca62-4abd-ac90-03a92ff72e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4BD9861-9FCA-4B71-B13C-2E2E9C03CE2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F4013B-0867-45B5-8A02-8524E7B27E9B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4d5c7e29-ca62-4abd-ac90-03a92ff72eab"/>
    <ds:schemaRef ds:uri="http://schemas.microsoft.com/office/infopath/2007/PartnerControls"/>
    <ds:schemaRef ds:uri="33726344-51dd-413a-8adf-6c28b821e9a8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298992C8-7F27-4482-A53A-4402D8E399EF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5</TotalTime>
  <Words>107</Words>
  <Application>Microsoft Office PowerPoint</Application>
  <PresentationFormat>Widescreen</PresentationFormat>
  <Paragraphs>23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30" baseType="lpstr">
      <vt:lpstr>Arial</vt:lpstr>
      <vt:lpstr>Calibri</vt:lpstr>
      <vt:lpstr>Calibri Light</vt:lpstr>
      <vt:lpstr>Century Gothic</vt:lpstr>
      <vt:lpstr>Helvetica Neue Medium</vt:lpstr>
      <vt:lpstr>MTN Brighter Sans</vt:lpstr>
      <vt:lpstr>MTN Brighter Sans Bold</vt:lpstr>
      <vt:lpstr>MTN Brighter Sans ExtraBold</vt:lpstr>
      <vt:lpstr>MTN Brighter Sans Light</vt:lpstr>
      <vt:lpstr>MTN Brighter Sans Regular</vt:lpstr>
      <vt:lpstr>Tahoma</vt:lpstr>
      <vt:lpstr>Titles</vt:lpstr>
      <vt:lpstr>Bottom arch_2 column</vt:lpstr>
      <vt:lpstr>1_Bottom arch_2 column</vt:lpstr>
      <vt:lpstr>Bottom arch_3 column</vt:lpstr>
      <vt:lpstr>1_for fullpage graphs_only yellow</vt:lpstr>
      <vt:lpstr>2_for fullpage graphs_only white</vt:lpstr>
      <vt:lpstr>2_Bottom arch_2 column</vt:lpstr>
      <vt:lpstr>Bottom arch no logo</vt:lpstr>
      <vt:lpstr>Content Slides_Option 1</vt:lpstr>
      <vt:lpstr>Office Theme</vt:lpstr>
      <vt:lpstr>think-cell Slide</vt:lpstr>
      <vt:lpstr>Open API Hackathon 2022 Team Name Idea Na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bra</dc:creator>
  <cp:lastModifiedBy>Herman Odame [ MTN Ghana ]</cp:lastModifiedBy>
  <cp:revision>5</cp:revision>
  <dcterms:created xsi:type="dcterms:W3CDTF">2017-09-20T14:32:02Z</dcterms:created>
  <dcterms:modified xsi:type="dcterms:W3CDTF">2022-09-14T08:2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3C441E45828C4A94107C78251E7C9D</vt:lpwstr>
  </property>
  <property fmtid="{D5CDD505-2E9C-101B-9397-08002B2CF9AE}" pid="3" name="bjClsUserRVM">
    <vt:lpwstr>[]</vt:lpwstr>
  </property>
  <property fmtid="{D5CDD505-2E9C-101B-9397-08002B2CF9AE}" pid="4" name="bjSaver">
    <vt:lpwstr>jstyQi1X7YB2AjaXs9ztS3g7WoR06cey</vt:lpwstr>
  </property>
  <property fmtid="{D5CDD505-2E9C-101B-9397-08002B2CF9AE}" pid="5" name="bjDocumentLabelXML">
    <vt:lpwstr>&lt;?xml version="1.0" encoding="us-ascii"?&gt;&lt;sisl xmlns:xsi="http://www.w3.org/2001/XMLSchema-instance" xmlns:xsd="http://www.w3.org/2001/XMLSchema" sislVersion="0" policy="bf516a00-941e-4515-902e-04580dc361de" origin="userSelected" xmlns="http://www.boldonj</vt:lpwstr>
  </property>
  <property fmtid="{D5CDD505-2E9C-101B-9397-08002B2CF9AE}" pid="6" name="bjDocumentLabelXML-0">
    <vt:lpwstr>ames.com/2008/01/sie/internal/label"&gt;&lt;element uid="id_classification_generalbusiness" value="" /&gt;&lt;/sisl&gt;</vt:lpwstr>
  </property>
  <property fmtid="{D5CDD505-2E9C-101B-9397-08002B2CF9AE}" pid="7" name="bjDocumentSecurityLabel">
    <vt:lpwstr>Internal</vt:lpwstr>
  </property>
  <property fmtid="{D5CDD505-2E9C-101B-9397-08002B2CF9AE}" pid="8" name="docIndexRef">
    <vt:lpwstr>4691f29d-225a-41e3-92f3-db5b95a9e5ab</vt:lpwstr>
  </property>
</Properties>
</file>